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Lst>
  <p:notesMasterIdLst>
    <p:notesMasterId r:id="rId29"/>
  </p:notesMasterIdLst>
  <p:sldIdLst>
    <p:sldId id="277" r:id="rId5"/>
    <p:sldId id="257" r:id="rId6"/>
    <p:sldId id="256" r:id="rId7"/>
    <p:sldId id="258" r:id="rId8"/>
    <p:sldId id="259" r:id="rId9"/>
    <p:sldId id="264" r:id="rId10"/>
    <p:sldId id="265" r:id="rId11"/>
    <p:sldId id="263" r:id="rId12"/>
    <p:sldId id="270" r:id="rId13"/>
    <p:sldId id="276" r:id="rId14"/>
    <p:sldId id="284" r:id="rId15"/>
    <p:sldId id="279" r:id="rId16"/>
    <p:sldId id="271" r:id="rId17"/>
    <p:sldId id="269" r:id="rId18"/>
    <p:sldId id="274" r:id="rId19"/>
    <p:sldId id="273" r:id="rId20"/>
    <p:sldId id="262" r:id="rId21"/>
    <p:sldId id="275" r:id="rId22"/>
    <p:sldId id="260" r:id="rId23"/>
    <p:sldId id="266" r:id="rId24"/>
    <p:sldId id="280" r:id="rId25"/>
    <p:sldId id="281" r:id="rId26"/>
    <p:sldId id="282" r:id="rId27"/>
    <p:sldId id="283"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96AFB7F-C57B-4831-AA5D-2DF3C4A8B466}">
          <p14:sldIdLst>
            <p14:sldId id="277"/>
            <p14:sldId id="257"/>
          </p14:sldIdLst>
        </p14:section>
        <p14:section name="Entreprise" id="{E771DCB8-8335-4409-AC09-1B46F000479A}">
          <p14:sldIdLst>
            <p14:sldId id="256"/>
            <p14:sldId id="258"/>
          </p14:sldIdLst>
        </p14:section>
        <p14:section name="Contexte" id="{1D1F24ED-E2E1-4E90-BCFD-C93206BAD582}">
          <p14:sldIdLst>
            <p14:sldId id="259"/>
            <p14:sldId id="264"/>
            <p14:sldId id="265"/>
          </p14:sldIdLst>
        </p14:section>
        <p14:section name="Gouvernance AD" id="{B2233B02-9D73-4D85-83B4-8865D7144DFD}">
          <p14:sldIdLst>
            <p14:sldId id="263"/>
            <p14:sldId id="270"/>
            <p14:sldId id="276"/>
            <p14:sldId id="284"/>
            <p14:sldId id="279"/>
          </p14:sldIdLst>
        </p14:section>
        <p14:section name="Maturité AD" id="{5FE8D5D1-55F7-4B73-9B00-AD9DEC76C09B}">
          <p14:sldIdLst>
            <p14:sldId id="271"/>
            <p14:sldId id="269"/>
            <p14:sldId id="274"/>
          </p14:sldIdLst>
        </p14:section>
        <p14:section name="gestion de projet" id="{5C75ECA9-386E-4638-B54B-2D3F5B2AF509}">
          <p14:sldIdLst>
            <p14:sldId id="273"/>
          </p14:sldIdLst>
        </p14:section>
        <p14:section name="SHS" id="{92147521-66DD-44C5-9381-DA4032E39B9A}">
          <p14:sldIdLst>
            <p14:sldId id="262"/>
            <p14:sldId id="275"/>
          </p14:sldIdLst>
        </p14:section>
        <p14:section name="Conclusion" id="{8FB9AE29-1101-4EBF-AD70-DFDB72799652}">
          <p14:sldIdLst>
            <p14:sldId id="260"/>
            <p14:sldId id="266"/>
            <p14:sldId id="280"/>
          </p14:sldIdLst>
        </p14:section>
        <p14:section name="Annexes" id="{0E55FB57-762F-42F7-9467-2BBF95064E7E}">
          <p14:sldIdLst>
            <p14:sldId id="281"/>
            <p14:sldId id="282"/>
            <p14:sldId id="28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D8390"/>
    <a:srgbClr val="86BC25"/>
    <a:srgbClr val="FFFFFF"/>
    <a:srgbClr val="FFE5ED"/>
    <a:srgbClr val="D0D0CE"/>
    <a:srgbClr val="D0CECE"/>
    <a:srgbClr val="DA291C"/>
    <a:srgbClr val="435E13"/>
    <a:srgbClr val="007CB0"/>
    <a:srgbClr val="046A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3ED10B-C0D7-409E-AD3F-D6A5AE869F78}" v="691" dt="2022-06-30T08:56:37.2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53" autoAdjust="0"/>
    <p:restoredTop sz="94577" autoAdjust="0"/>
  </p:normalViewPr>
  <p:slideViewPr>
    <p:cSldViewPr snapToGrid="0">
      <p:cViewPr>
        <p:scale>
          <a:sx n="97" d="100"/>
          <a:sy n="97" d="100"/>
        </p:scale>
        <p:origin x="-224" y="60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ussel, Gaetan" userId="269e9c6f-a5fe-49a6-9b6b-1c16ee3e16b1" providerId="ADAL" clId="{A43ED10B-C0D7-409E-AD3F-D6A5AE869F78}"/>
    <pc:docChg chg="undo custSel addSld delSld modSld sldOrd addSection modSection">
      <pc:chgData name="Roussel, Gaetan" userId="269e9c6f-a5fe-49a6-9b6b-1c16ee3e16b1" providerId="ADAL" clId="{A43ED10B-C0D7-409E-AD3F-D6A5AE869F78}" dt="2022-06-30T08:56:46.334" v="11638" actId="12789"/>
      <pc:docMkLst>
        <pc:docMk/>
      </pc:docMkLst>
      <pc:sldChg chg="addSp delSp modSp new mod ord modTransition setBg modClrScheme delDesignElem chgLayout">
        <pc:chgData name="Roussel, Gaetan" userId="269e9c6f-a5fe-49a6-9b6b-1c16ee3e16b1" providerId="ADAL" clId="{A43ED10B-C0D7-409E-AD3F-D6A5AE869F78}" dt="2022-06-27T13:22:15.393" v="7465" actId="790"/>
        <pc:sldMkLst>
          <pc:docMk/>
          <pc:sldMk cId="2037152289" sldId="256"/>
        </pc:sldMkLst>
        <pc:spChg chg="del mod">
          <ac:chgData name="Roussel, Gaetan" userId="269e9c6f-a5fe-49a6-9b6b-1c16ee3e16b1" providerId="ADAL" clId="{A43ED10B-C0D7-409E-AD3F-D6A5AE869F78}" dt="2022-06-24T14:01:17.154" v="26" actId="478"/>
          <ac:spMkLst>
            <pc:docMk/>
            <pc:sldMk cId="2037152289" sldId="256"/>
            <ac:spMk id="2" creationId="{D3B8276D-EB7C-4BF0-B392-572BD9E693F8}"/>
          </ac:spMkLst>
        </pc:spChg>
        <pc:spChg chg="del mod">
          <ac:chgData name="Roussel, Gaetan" userId="269e9c6f-a5fe-49a6-9b6b-1c16ee3e16b1" providerId="ADAL" clId="{A43ED10B-C0D7-409E-AD3F-D6A5AE869F78}" dt="2022-06-24T14:01:18.785" v="27" actId="478"/>
          <ac:spMkLst>
            <pc:docMk/>
            <pc:sldMk cId="2037152289" sldId="256"/>
            <ac:spMk id="3" creationId="{C688FFE9-9F7F-4713-9D87-D786AF077EA5}"/>
          </ac:spMkLst>
        </pc:spChg>
        <pc:spChg chg="add del">
          <ac:chgData name="Roussel, Gaetan" userId="269e9c6f-a5fe-49a6-9b6b-1c16ee3e16b1" providerId="ADAL" clId="{A43ED10B-C0D7-409E-AD3F-D6A5AE869F78}" dt="2022-06-24T14:00:56.680" v="20" actId="26606"/>
          <ac:spMkLst>
            <pc:docMk/>
            <pc:sldMk cId="2037152289" sldId="256"/>
            <ac:spMk id="9" creationId="{87CC2527-562A-4F69-B487-4371E5B243E7}"/>
          </ac:spMkLst>
        </pc:spChg>
        <pc:spChg chg="add mod">
          <ac:chgData name="Roussel, Gaetan" userId="269e9c6f-a5fe-49a6-9b6b-1c16ee3e16b1" providerId="ADAL" clId="{A43ED10B-C0D7-409E-AD3F-D6A5AE869F78}" dt="2022-06-27T13:22:15.393" v="7465" actId="790"/>
          <ac:spMkLst>
            <pc:docMk/>
            <pc:sldMk cId="2037152289" sldId="256"/>
            <ac:spMk id="10" creationId="{A6A815C9-A275-4375-A9F3-2CE3D1197979}"/>
          </ac:spMkLst>
        </pc:spChg>
        <pc:spChg chg="add del">
          <ac:chgData name="Roussel, Gaetan" userId="269e9c6f-a5fe-49a6-9b6b-1c16ee3e16b1" providerId="ADAL" clId="{A43ED10B-C0D7-409E-AD3F-D6A5AE869F78}" dt="2022-06-24T14:01:24.934" v="29"/>
          <ac:spMkLst>
            <pc:docMk/>
            <pc:sldMk cId="2037152289" sldId="256"/>
            <ac:spMk id="13" creationId="{C1DD1A8A-57D5-4A81-AD04-532B043C5611}"/>
          </ac:spMkLst>
        </pc:spChg>
        <pc:spChg chg="add del">
          <ac:chgData name="Roussel, Gaetan" userId="269e9c6f-a5fe-49a6-9b6b-1c16ee3e16b1" providerId="ADAL" clId="{A43ED10B-C0D7-409E-AD3F-D6A5AE869F78}" dt="2022-06-24T14:01:24.934" v="29"/>
          <ac:spMkLst>
            <pc:docMk/>
            <pc:sldMk cId="2037152289" sldId="256"/>
            <ac:spMk id="14" creationId="{007891EC-4501-44ED-A8C8-B11B6DB767AB}"/>
          </ac:spMkLst>
        </pc:spChg>
        <pc:picChg chg="add mod ord">
          <ac:chgData name="Roussel, Gaetan" userId="269e9c6f-a5fe-49a6-9b6b-1c16ee3e16b1" providerId="ADAL" clId="{A43ED10B-C0D7-409E-AD3F-D6A5AE869F78}" dt="2022-06-24T14:04:59.513" v="33" actId="26606"/>
          <ac:picMkLst>
            <pc:docMk/>
            <pc:sldMk cId="2037152289" sldId="256"/>
            <ac:picMk id="4" creationId="{0858EDA5-6B4D-425B-8094-AA5267EE6A4D}"/>
          </ac:picMkLst>
        </pc:picChg>
        <pc:cxnChg chg="add del">
          <ac:chgData name="Roussel, Gaetan" userId="269e9c6f-a5fe-49a6-9b6b-1c16ee3e16b1" providerId="ADAL" clId="{A43ED10B-C0D7-409E-AD3F-D6A5AE869F78}" dt="2022-06-24T14:00:56.680" v="20" actId="26606"/>
          <ac:cxnSpMkLst>
            <pc:docMk/>
            <pc:sldMk cId="2037152289" sldId="256"/>
            <ac:cxnSpMk id="11" creationId="{BCDAEC91-5BCE-4B55-9CC0-43EF94CB734B}"/>
          </ac:cxnSpMkLst>
        </pc:cxnChg>
      </pc:sldChg>
      <pc:sldChg chg="addSp delSp modSp new mod">
        <pc:chgData name="Roussel, Gaetan" userId="269e9c6f-a5fe-49a6-9b6b-1c16ee3e16b1" providerId="ADAL" clId="{A43ED10B-C0D7-409E-AD3F-D6A5AE869F78}" dt="2022-06-30T08:22:05.011" v="11237" actId="20577"/>
        <pc:sldMkLst>
          <pc:docMk/>
          <pc:sldMk cId="3074881903" sldId="257"/>
        </pc:sldMkLst>
        <pc:spChg chg="mod">
          <ac:chgData name="Roussel, Gaetan" userId="269e9c6f-a5fe-49a6-9b6b-1c16ee3e16b1" providerId="ADAL" clId="{A43ED10B-C0D7-409E-AD3F-D6A5AE869F78}" dt="2022-06-30T08:21:26.151" v="11227" actId="113"/>
          <ac:spMkLst>
            <pc:docMk/>
            <pc:sldMk cId="3074881903" sldId="257"/>
            <ac:spMk id="2" creationId="{A54A885E-F7BD-4F63-9670-8F520D3B2434}"/>
          </ac:spMkLst>
        </pc:spChg>
        <pc:spChg chg="del">
          <ac:chgData name="Roussel, Gaetan" userId="269e9c6f-a5fe-49a6-9b6b-1c16ee3e16b1" providerId="ADAL" clId="{A43ED10B-C0D7-409E-AD3F-D6A5AE869F78}" dt="2022-06-24T13:30:31.622" v="8" actId="478"/>
          <ac:spMkLst>
            <pc:docMk/>
            <pc:sldMk cId="3074881903" sldId="257"/>
            <ac:spMk id="3" creationId="{7021DCCD-D01C-4335-9A9D-F26007F3A29E}"/>
          </ac:spMkLst>
        </pc:spChg>
        <pc:spChg chg="mod">
          <ac:chgData name="Roussel, Gaetan" userId="269e9c6f-a5fe-49a6-9b6b-1c16ee3e16b1" providerId="ADAL" clId="{A43ED10B-C0D7-409E-AD3F-D6A5AE869F78}" dt="2022-06-28T18:19:47.675" v="9467" actId="1035"/>
          <ac:spMkLst>
            <pc:docMk/>
            <pc:sldMk cId="3074881903" sldId="257"/>
            <ac:spMk id="5" creationId="{73C13F6E-85CC-454C-97C7-DDA1A8263E4E}"/>
          </ac:spMkLst>
        </pc:spChg>
        <pc:spChg chg="mod">
          <ac:chgData name="Roussel, Gaetan" userId="269e9c6f-a5fe-49a6-9b6b-1c16ee3e16b1" providerId="ADAL" clId="{A43ED10B-C0D7-409E-AD3F-D6A5AE869F78}" dt="2022-06-28T18:19:40.120" v="9448" actId="12789"/>
          <ac:spMkLst>
            <pc:docMk/>
            <pc:sldMk cId="3074881903" sldId="257"/>
            <ac:spMk id="6" creationId="{9341B43E-060E-40E5-AE9C-F9C9CCC27500}"/>
          </ac:spMkLst>
        </pc:spChg>
        <pc:spChg chg="mod">
          <ac:chgData name="Roussel, Gaetan" userId="269e9c6f-a5fe-49a6-9b6b-1c16ee3e16b1" providerId="ADAL" clId="{A43ED10B-C0D7-409E-AD3F-D6A5AE869F78}" dt="2022-06-30T08:22:05.011" v="11237" actId="20577"/>
          <ac:spMkLst>
            <pc:docMk/>
            <pc:sldMk cId="3074881903" sldId="257"/>
            <ac:spMk id="7" creationId="{67BA30C7-9169-40F8-AD00-19F210726D57}"/>
          </ac:spMkLst>
        </pc:spChg>
        <pc:spChg chg="mod">
          <ac:chgData name="Roussel, Gaetan" userId="269e9c6f-a5fe-49a6-9b6b-1c16ee3e16b1" providerId="ADAL" clId="{A43ED10B-C0D7-409E-AD3F-D6A5AE869F78}" dt="2022-06-28T18:19:28.337" v="9436" actId="12789"/>
          <ac:spMkLst>
            <pc:docMk/>
            <pc:sldMk cId="3074881903" sldId="257"/>
            <ac:spMk id="8" creationId="{F44ABE32-5124-47F7-A0EC-33BF5CE05C51}"/>
          </ac:spMkLst>
        </pc:spChg>
        <pc:spChg chg="mod">
          <ac:chgData name="Roussel, Gaetan" userId="269e9c6f-a5fe-49a6-9b6b-1c16ee3e16b1" providerId="ADAL" clId="{A43ED10B-C0D7-409E-AD3F-D6A5AE869F78}" dt="2022-06-28T18:18:31.203" v="9381" actId="120"/>
          <ac:spMkLst>
            <pc:docMk/>
            <pc:sldMk cId="3074881903" sldId="257"/>
            <ac:spMk id="9" creationId="{F180A11A-8AE0-45FD-A0BF-229690A3B1BA}"/>
          </ac:spMkLst>
        </pc:spChg>
        <pc:spChg chg="mod">
          <ac:chgData name="Roussel, Gaetan" userId="269e9c6f-a5fe-49a6-9b6b-1c16ee3e16b1" providerId="ADAL" clId="{A43ED10B-C0D7-409E-AD3F-D6A5AE869F78}" dt="2022-06-30T08:22:01.992" v="11232" actId="20577"/>
          <ac:spMkLst>
            <pc:docMk/>
            <pc:sldMk cId="3074881903" sldId="257"/>
            <ac:spMk id="10" creationId="{E92039E0-C827-4EBD-968D-BA52507B6ACC}"/>
          </ac:spMkLst>
        </pc:spChg>
        <pc:spChg chg="mod">
          <ac:chgData name="Roussel, Gaetan" userId="269e9c6f-a5fe-49a6-9b6b-1c16ee3e16b1" providerId="ADAL" clId="{A43ED10B-C0D7-409E-AD3F-D6A5AE869F78}" dt="2022-06-28T18:19:07.931" v="9433" actId="1035"/>
          <ac:spMkLst>
            <pc:docMk/>
            <pc:sldMk cId="3074881903" sldId="257"/>
            <ac:spMk id="11" creationId="{B7754C7B-2D39-40B6-93AE-9DBA79D67FF6}"/>
          </ac:spMkLst>
        </pc:spChg>
        <pc:spChg chg="mod">
          <ac:chgData name="Roussel, Gaetan" userId="269e9c6f-a5fe-49a6-9b6b-1c16ee3e16b1" providerId="ADAL" clId="{A43ED10B-C0D7-409E-AD3F-D6A5AE869F78}" dt="2022-06-27T15:32:51.858" v="8455" actId="122"/>
          <ac:spMkLst>
            <pc:docMk/>
            <pc:sldMk cId="3074881903" sldId="257"/>
            <ac:spMk id="12" creationId="{2C895FBB-5623-418C-9FF7-4C3153E92D2D}"/>
          </ac:spMkLst>
        </pc:spChg>
        <pc:spChg chg="mod">
          <ac:chgData name="Roussel, Gaetan" userId="269e9c6f-a5fe-49a6-9b6b-1c16ee3e16b1" providerId="ADAL" clId="{A43ED10B-C0D7-409E-AD3F-D6A5AE869F78}" dt="2022-06-27T15:32:51.858" v="8455" actId="122"/>
          <ac:spMkLst>
            <pc:docMk/>
            <pc:sldMk cId="3074881903" sldId="257"/>
            <ac:spMk id="13" creationId="{C02834FB-14D4-47FA-9ADA-2ADBD5F13BDC}"/>
          </ac:spMkLst>
        </pc:spChg>
        <pc:spChg chg="mod">
          <ac:chgData name="Roussel, Gaetan" userId="269e9c6f-a5fe-49a6-9b6b-1c16ee3e16b1" providerId="ADAL" clId="{A43ED10B-C0D7-409E-AD3F-D6A5AE869F78}" dt="2022-06-27T15:32:51.858" v="8455" actId="122"/>
          <ac:spMkLst>
            <pc:docMk/>
            <pc:sldMk cId="3074881903" sldId="257"/>
            <ac:spMk id="14" creationId="{3674A1FF-812C-43C9-AB6B-960B661464AF}"/>
          </ac:spMkLst>
        </pc:spChg>
        <pc:spChg chg="mod">
          <ac:chgData name="Roussel, Gaetan" userId="269e9c6f-a5fe-49a6-9b6b-1c16ee3e16b1" providerId="ADAL" clId="{A43ED10B-C0D7-409E-AD3F-D6A5AE869F78}" dt="2022-06-27T15:32:51.858" v="8455" actId="122"/>
          <ac:spMkLst>
            <pc:docMk/>
            <pc:sldMk cId="3074881903" sldId="257"/>
            <ac:spMk id="15" creationId="{C654245F-578B-4B2B-B65A-1B4A31804789}"/>
          </ac:spMkLst>
        </pc:spChg>
        <pc:spChg chg="del mod">
          <ac:chgData name="Roussel, Gaetan" userId="269e9c6f-a5fe-49a6-9b6b-1c16ee3e16b1" providerId="ADAL" clId="{A43ED10B-C0D7-409E-AD3F-D6A5AE869F78}" dt="2022-06-27T13:08:38.949" v="7204" actId="478"/>
          <ac:spMkLst>
            <pc:docMk/>
            <pc:sldMk cId="3074881903" sldId="257"/>
            <ac:spMk id="16" creationId="{C2E3F289-7179-4923-8794-F2510EA5D298}"/>
          </ac:spMkLst>
        </pc:spChg>
        <pc:spChg chg="del mod">
          <ac:chgData name="Roussel, Gaetan" userId="269e9c6f-a5fe-49a6-9b6b-1c16ee3e16b1" providerId="ADAL" clId="{A43ED10B-C0D7-409E-AD3F-D6A5AE869F78}" dt="2022-06-27T13:08:35.636" v="7202" actId="478"/>
          <ac:spMkLst>
            <pc:docMk/>
            <pc:sldMk cId="3074881903" sldId="257"/>
            <ac:spMk id="17" creationId="{D47035BC-A5E4-4ECA-9608-D3E6A9EFE810}"/>
          </ac:spMkLst>
        </pc:spChg>
        <pc:spChg chg="del mod">
          <ac:chgData name="Roussel, Gaetan" userId="269e9c6f-a5fe-49a6-9b6b-1c16ee3e16b1" providerId="ADAL" clId="{A43ED10B-C0D7-409E-AD3F-D6A5AE869F78}" dt="2022-06-27T13:08:41.005" v="7205" actId="478"/>
          <ac:spMkLst>
            <pc:docMk/>
            <pc:sldMk cId="3074881903" sldId="257"/>
            <ac:spMk id="18" creationId="{DB7C1FE9-5F22-4801-A26B-6E866FD61EFC}"/>
          </ac:spMkLst>
        </pc:spChg>
        <pc:spChg chg="del mod">
          <ac:chgData name="Roussel, Gaetan" userId="269e9c6f-a5fe-49a6-9b6b-1c16ee3e16b1" providerId="ADAL" clId="{A43ED10B-C0D7-409E-AD3F-D6A5AE869F78}" dt="2022-06-27T13:08:37.185" v="7203" actId="478"/>
          <ac:spMkLst>
            <pc:docMk/>
            <pc:sldMk cId="3074881903" sldId="257"/>
            <ac:spMk id="19" creationId="{DBC106D6-699D-4C61-A1AB-375B8929FCB9}"/>
          </ac:spMkLst>
        </pc:spChg>
        <pc:spChg chg="mod">
          <ac:chgData name="Roussel, Gaetan" userId="269e9c6f-a5fe-49a6-9b6b-1c16ee3e16b1" providerId="ADAL" clId="{A43ED10B-C0D7-409E-AD3F-D6A5AE869F78}" dt="2022-06-28T18:19:00.386" v="9404" actId="1038"/>
          <ac:spMkLst>
            <pc:docMk/>
            <pc:sldMk cId="3074881903" sldId="257"/>
            <ac:spMk id="20" creationId="{C8519FB7-4073-4B9A-BD36-7BAFA3E114C7}"/>
          </ac:spMkLst>
        </pc:spChg>
        <pc:grpChg chg="add mod">
          <ac:chgData name="Roussel, Gaetan" userId="269e9c6f-a5fe-49a6-9b6b-1c16ee3e16b1" providerId="ADAL" clId="{A43ED10B-C0D7-409E-AD3F-D6A5AE869F78}" dt="2022-06-27T15:32:45.286" v="8454" actId="12789"/>
          <ac:grpSpMkLst>
            <pc:docMk/>
            <pc:sldMk cId="3074881903" sldId="257"/>
            <ac:grpSpMk id="4" creationId="{1F82E7BD-E37C-4C07-B9E0-869FA0F20767}"/>
          </ac:grpSpMkLst>
        </pc:grpChg>
      </pc:sldChg>
      <pc:sldChg chg="addSp delSp modSp new mod">
        <pc:chgData name="Roussel, Gaetan" userId="269e9c6f-a5fe-49a6-9b6b-1c16ee3e16b1" providerId="ADAL" clId="{A43ED10B-C0D7-409E-AD3F-D6A5AE869F78}" dt="2022-06-30T08:22:19.161" v="11253" actId="20577"/>
        <pc:sldMkLst>
          <pc:docMk/>
          <pc:sldMk cId="3783824197" sldId="258"/>
        </pc:sldMkLst>
        <pc:spChg chg="del mod">
          <ac:chgData name="Roussel, Gaetan" userId="269e9c6f-a5fe-49a6-9b6b-1c16ee3e16b1" providerId="ADAL" clId="{A43ED10B-C0D7-409E-AD3F-D6A5AE869F78}" dt="2022-06-24T15:16:52.396" v="167" actId="478"/>
          <ac:spMkLst>
            <pc:docMk/>
            <pc:sldMk cId="3783824197" sldId="258"/>
            <ac:spMk id="2" creationId="{CB5A1A39-FEA5-45F0-8A95-1A2DE8823E7B}"/>
          </ac:spMkLst>
        </pc:spChg>
        <pc:spChg chg="del mod">
          <ac:chgData name="Roussel, Gaetan" userId="269e9c6f-a5fe-49a6-9b6b-1c16ee3e16b1" providerId="ADAL" clId="{A43ED10B-C0D7-409E-AD3F-D6A5AE869F78}" dt="2022-06-24T15:16:28.592" v="164" actId="478"/>
          <ac:spMkLst>
            <pc:docMk/>
            <pc:sldMk cId="3783824197" sldId="258"/>
            <ac:spMk id="3" creationId="{C2DA7C24-C848-413B-84B3-6D78FD4BDCCF}"/>
          </ac:spMkLst>
        </pc:spChg>
        <pc:spChg chg="add mod">
          <ac:chgData name="Roussel, Gaetan" userId="269e9c6f-a5fe-49a6-9b6b-1c16ee3e16b1" providerId="ADAL" clId="{A43ED10B-C0D7-409E-AD3F-D6A5AE869F78}" dt="2022-06-30T08:22:19.161" v="11253" actId="20577"/>
          <ac:spMkLst>
            <pc:docMk/>
            <pc:sldMk cId="3783824197" sldId="258"/>
            <ac:spMk id="4" creationId="{D17CDCD0-3B35-4BC1-81E0-D7AA91B20D1E}"/>
          </ac:spMkLst>
        </pc:spChg>
        <pc:spChg chg="add mod ord topLvl">
          <ac:chgData name="Roussel, Gaetan" userId="269e9c6f-a5fe-49a6-9b6b-1c16ee3e16b1" providerId="ADAL" clId="{A43ED10B-C0D7-409E-AD3F-D6A5AE869F78}" dt="2022-06-30T08:14:40.046" v="11172" actId="165"/>
          <ac:spMkLst>
            <pc:docMk/>
            <pc:sldMk cId="3783824197" sldId="258"/>
            <ac:spMk id="5" creationId="{FECB9530-2B51-48AE-8235-459FFE82E501}"/>
          </ac:spMkLst>
        </pc:spChg>
        <pc:spChg chg="add mod">
          <ac:chgData name="Roussel, Gaetan" userId="269e9c6f-a5fe-49a6-9b6b-1c16ee3e16b1" providerId="ADAL" clId="{A43ED10B-C0D7-409E-AD3F-D6A5AE869F78}" dt="2022-06-24T15:22:34.229" v="192"/>
          <ac:spMkLst>
            <pc:docMk/>
            <pc:sldMk cId="3783824197" sldId="258"/>
            <ac:spMk id="9" creationId="{75C18417-1130-484A-90F7-ADBE821582AB}"/>
          </ac:spMkLst>
        </pc:spChg>
        <pc:spChg chg="mod">
          <ac:chgData name="Roussel, Gaetan" userId="269e9c6f-a5fe-49a6-9b6b-1c16ee3e16b1" providerId="ADAL" clId="{A43ED10B-C0D7-409E-AD3F-D6A5AE869F78}" dt="2022-06-24T15:22:34.229" v="192"/>
          <ac:spMkLst>
            <pc:docMk/>
            <pc:sldMk cId="3783824197" sldId="258"/>
            <ac:spMk id="12" creationId="{0C07BD1D-1064-444B-BBBD-D71CB08E3779}"/>
          </ac:spMkLst>
        </pc:spChg>
        <pc:spChg chg="mod">
          <ac:chgData name="Roussel, Gaetan" userId="269e9c6f-a5fe-49a6-9b6b-1c16ee3e16b1" providerId="ADAL" clId="{A43ED10B-C0D7-409E-AD3F-D6A5AE869F78}" dt="2022-06-24T15:22:34.229" v="192"/>
          <ac:spMkLst>
            <pc:docMk/>
            <pc:sldMk cId="3783824197" sldId="258"/>
            <ac:spMk id="13" creationId="{59140B08-93EB-4E9F-BB82-B06291BD277C}"/>
          </ac:spMkLst>
        </pc:spChg>
        <pc:spChg chg="mod">
          <ac:chgData name="Roussel, Gaetan" userId="269e9c6f-a5fe-49a6-9b6b-1c16ee3e16b1" providerId="ADAL" clId="{A43ED10B-C0D7-409E-AD3F-D6A5AE869F78}" dt="2022-06-24T15:22:34.229" v="192"/>
          <ac:spMkLst>
            <pc:docMk/>
            <pc:sldMk cId="3783824197" sldId="258"/>
            <ac:spMk id="14" creationId="{083BF061-7B68-438A-81B2-794366365140}"/>
          </ac:spMkLst>
        </pc:spChg>
        <pc:spChg chg="mod">
          <ac:chgData name="Roussel, Gaetan" userId="269e9c6f-a5fe-49a6-9b6b-1c16ee3e16b1" providerId="ADAL" clId="{A43ED10B-C0D7-409E-AD3F-D6A5AE869F78}" dt="2022-06-24T15:22:34.229" v="192"/>
          <ac:spMkLst>
            <pc:docMk/>
            <pc:sldMk cId="3783824197" sldId="258"/>
            <ac:spMk id="15" creationId="{F873310F-4798-4339-8FDD-131DCB36973B}"/>
          </ac:spMkLst>
        </pc:spChg>
        <pc:spChg chg="mod">
          <ac:chgData name="Roussel, Gaetan" userId="269e9c6f-a5fe-49a6-9b6b-1c16ee3e16b1" providerId="ADAL" clId="{A43ED10B-C0D7-409E-AD3F-D6A5AE869F78}" dt="2022-06-24T15:22:34.229" v="192"/>
          <ac:spMkLst>
            <pc:docMk/>
            <pc:sldMk cId="3783824197" sldId="258"/>
            <ac:spMk id="16" creationId="{79271F75-F092-4D2D-8D3F-D967111BE5A3}"/>
          </ac:spMkLst>
        </pc:spChg>
        <pc:spChg chg="mod">
          <ac:chgData name="Roussel, Gaetan" userId="269e9c6f-a5fe-49a6-9b6b-1c16ee3e16b1" providerId="ADAL" clId="{A43ED10B-C0D7-409E-AD3F-D6A5AE869F78}" dt="2022-06-24T15:22:34.229" v="192"/>
          <ac:spMkLst>
            <pc:docMk/>
            <pc:sldMk cId="3783824197" sldId="258"/>
            <ac:spMk id="17" creationId="{F82AB76B-F090-40A5-8545-06D5B4E64FE4}"/>
          </ac:spMkLst>
        </pc:spChg>
        <pc:spChg chg="add mod">
          <ac:chgData name="Roussel, Gaetan" userId="269e9c6f-a5fe-49a6-9b6b-1c16ee3e16b1" providerId="ADAL" clId="{A43ED10B-C0D7-409E-AD3F-D6A5AE869F78}" dt="2022-06-24T15:22:34.229" v="192"/>
          <ac:spMkLst>
            <pc:docMk/>
            <pc:sldMk cId="3783824197" sldId="258"/>
            <ac:spMk id="18" creationId="{97124308-0DF0-4248-B405-B563ED8825B7}"/>
          </ac:spMkLst>
        </pc:spChg>
        <pc:spChg chg="add mod">
          <ac:chgData name="Roussel, Gaetan" userId="269e9c6f-a5fe-49a6-9b6b-1c16ee3e16b1" providerId="ADAL" clId="{A43ED10B-C0D7-409E-AD3F-D6A5AE869F78}" dt="2022-06-24T15:22:34.229" v="192"/>
          <ac:spMkLst>
            <pc:docMk/>
            <pc:sldMk cId="3783824197" sldId="258"/>
            <ac:spMk id="19" creationId="{C4058DFB-D64F-4FCF-8C12-2644422F54A9}"/>
          </ac:spMkLst>
        </pc:spChg>
        <pc:spChg chg="add mod">
          <ac:chgData name="Roussel, Gaetan" userId="269e9c6f-a5fe-49a6-9b6b-1c16ee3e16b1" providerId="ADAL" clId="{A43ED10B-C0D7-409E-AD3F-D6A5AE869F78}" dt="2022-06-24T15:22:34.229" v="192"/>
          <ac:spMkLst>
            <pc:docMk/>
            <pc:sldMk cId="3783824197" sldId="258"/>
            <ac:spMk id="20" creationId="{B750F79D-80F0-45CA-BEB7-78E7C4B0D57D}"/>
          </ac:spMkLst>
        </pc:spChg>
        <pc:spChg chg="mod">
          <ac:chgData name="Roussel, Gaetan" userId="269e9c6f-a5fe-49a6-9b6b-1c16ee3e16b1" providerId="ADAL" clId="{A43ED10B-C0D7-409E-AD3F-D6A5AE869F78}" dt="2022-06-24T15:22:34.229" v="192"/>
          <ac:spMkLst>
            <pc:docMk/>
            <pc:sldMk cId="3783824197" sldId="258"/>
            <ac:spMk id="22" creationId="{B2EFC61F-C796-4AD7-97B6-81C44DC0AF38}"/>
          </ac:spMkLst>
        </pc:spChg>
        <pc:spChg chg="mod">
          <ac:chgData name="Roussel, Gaetan" userId="269e9c6f-a5fe-49a6-9b6b-1c16ee3e16b1" providerId="ADAL" clId="{A43ED10B-C0D7-409E-AD3F-D6A5AE869F78}" dt="2022-06-24T15:22:34.229" v="192"/>
          <ac:spMkLst>
            <pc:docMk/>
            <pc:sldMk cId="3783824197" sldId="258"/>
            <ac:spMk id="23" creationId="{0E279274-02B6-4AAE-8839-DBA1EC072012}"/>
          </ac:spMkLst>
        </pc:spChg>
        <pc:spChg chg="add mod">
          <ac:chgData name="Roussel, Gaetan" userId="269e9c6f-a5fe-49a6-9b6b-1c16ee3e16b1" providerId="ADAL" clId="{A43ED10B-C0D7-409E-AD3F-D6A5AE869F78}" dt="2022-06-24T15:22:34.229" v="192"/>
          <ac:spMkLst>
            <pc:docMk/>
            <pc:sldMk cId="3783824197" sldId="258"/>
            <ac:spMk id="24" creationId="{254FA2FE-837C-40E5-B39B-78374B8429D3}"/>
          </ac:spMkLst>
        </pc:spChg>
        <pc:spChg chg="add mod">
          <ac:chgData name="Roussel, Gaetan" userId="269e9c6f-a5fe-49a6-9b6b-1c16ee3e16b1" providerId="ADAL" clId="{A43ED10B-C0D7-409E-AD3F-D6A5AE869F78}" dt="2022-06-27T13:19:32.148" v="7420" actId="20577"/>
          <ac:spMkLst>
            <pc:docMk/>
            <pc:sldMk cId="3783824197" sldId="258"/>
            <ac:spMk id="25" creationId="{6294BDFF-9C42-4A4F-BC5C-5B4DC76B1E88}"/>
          </ac:spMkLst>
        </pc:spChg>
        <pc:spChg chg="add mod">
          <ac:chgData name="Roussel, Gaetan" userId="269e9c6f-a5fe-49a6-9b6b-1c16ee3e16b1" providerId="ADAL" clId="{A43ED10B-C0D7-409E-AD3F-D6A5AE869F78}" dt="2022-06-24T15:26:44.229" v="331" actId="1035"/>
          <ac:spMkLst>
            <pc:docMk/>
            <pc:sldMk cId="3783824197" sldId="258"/>
            <ac:spMk id="26" creationId="{15D55026-0372-4391-B6EC-534C0AC56F5C}"/>
          </ac:spMkLst>
        </pc:spChg>
        <pc:spChg chg="add mod">
          <ac:chgData name="Roussel, Gaetan" userId="269e9c6f-a5fe-49a6-9b6b-1c16ee3e16b1" providerId="ADAL" clId="{A43ED10B-C0D7-409E-AD3F-D6A5AE869F78}" dt="2022-06-27T13:33:34.132" v="7535" actId="207"/>
          <ac:spMkLst>
            <pc:docMk/>
            <pc:sldMk cId="3783824197" sldId="258"/>
            <ac:spMk id="27" creationId="{A02833A0-8968-41F6-9B84-3DBDE977BF45}"/>
          </ac:spMkLst>
        </pc:spChg>
        <pc:spChg chg="add mod">
          <ac:chgData name="Roussel, Gaetan" userId="269e9c6f-a5fe-49a6-9b6b-1c16ee3e16b1" providerId="ADAL" clId="{A43ED10B-C0D7-409E-AD3F-D6A5AE869F78}" dt="2022-06-27T13:33:34.132" v="7535" actId="207"/>
          <ac:spMkLst>
            <pc:docMk/>
            <pc:sldMk cId="3783824197" sldId="258"/>
            <ac:spMk id="28" creationId="{90D69235-4C69-4349-8861-3731378D4816}"/>
          </ac:spMkLst>
        </pc:spChg>
        <pc:spChg chg="add mod">
          <ac:chgData name="Roussel, Gaetan" userId="269e9c6f-a5fe-49a6-9b6b-1c16ee3e16b1" providerId="ADAL" clId="{A43ED10B-C0D7-409E-AD3F-D6A5AE869F78}" dt="2022-06-27T13:37:12.082" v="7587" actId="207"/>
          <ac:spMkLst>
            <pc:docMk/>
            <pc:sldMk cId="3783824197" sldId="258"/>
            <ac:spMk id="29" creationId="{77E72813-B17F-43D6-952C-2A34110B8D3D}"/>
          </ac:spMkLst>
        </pc:spChg>
        <pc:spChg chg="add mod">
          <ac:chgData name="Roussel, Gaetan" userId="269e9c6f-a5fe-49a6-9b6b-1c16ee3e16b1" providerId="ADAL" clId="{A43ED10B-C0D7-409E-AD3F-D6A5AE869F78}" dt="2022-06-27T13:33:34.132" v="7535" actId="207"/>
          <ac:spMkLst>
            <pc:docMk/>
            <pc:sldMk cId="3783824197" sldId="258"/>
            <ac:spMk id="30" creationId="{1A982307-69E5-470E-B587-A3341C5C5E0E}"/>
          </ac:spMkLst>
        </pc:spChg>
        <pc:spChg chg="add mod">
          <ac:chgData name="Roussel, Gaetan" userId="269e9c6f-a5fe-49a6-9b6b-1c16ee3e16b1" providerId="ADAL" clId="{A43ED10B-C0D7-409E-AD3F-D6A5AE869F78}" dt="2022-06-27T13:34:19.491" v="7542" actId="14100"/>
          <ac:spMkLst>
            <pc:docMk/>
            <pc:sldMk cId="3783824197" sldId="258"/>
            <ac:spMk id="31" creationId="{D99D2F82-38E4-4938-AF3B-EA60D4E4AF3B}"/>
          </ac:spMkLst>
        </pc:spChg>
        <pc:spChg chg="add mod">
          <ac:chgData name="Roussel, Gaetan" userId="269e9c6f-a5fe-49a6-9b6b-1c16ee3e16b1" providerId="ADAL" clId="{A43ED10B-C0D7-409E-AD3F-D6A5AE869F78}" dt="2022-06-27T13:37:34.441" v="7599" actId="790"/>
          <ac:spMkLst>
            <pc:docMk/>
            <pc:sldMk cId="3783824197" sldId="258"/>
            <ac:spMk id="32" creationId="{81F4C0EF-E018-4814-AB13-689FD44E2581}"/>
          </ac:spMkLst>
        </pc:spChg>
        <pc:spChg chg="add mod">
          <ac:chgData name="Roussel, Gaetan" userId="269e9c6f-a5fe-49a6-9b6b-1c16ee3e16b1" providerId="ADAL" clId="{A43ED10B-C0D7-409E-AD3F-D6A5AE869F78}" dt="2022-06-27T13:34:57.107" v="7550" actId="790"/>
          <ac:spMkLst>
            <pc:docMk/>
            <pc:sldMk cId="3783824197" sldId="258"/>
            <ac:spMk id="33" creationId="{06E2A653-BF64-4639-BC2A-C1F5BC160E23}"/>
          </ac:spMkLst>
        </pc:spChg>
        <pc:spChg chg="add mod">
          <ac:chgData name="Roussel, Gaetan" userId="269e9c6f-a5fe-49a6-9b6b-1c16ee3e16b1" providerId="ADAL" clId="{A43ED10B-C0D7-409E-AD3F-D6A5AE869F78}" dt="2022-06-27T13:33:34.132" v="7535" actId="207"/>
          <ac:spMkLst>
            <pc:docMk/>
            <pc:sldMk cId="3783824197" sldId="258"/>
            <ac:spMk id="34" creationId="{F701F6BB-8F1C-4F26-B78C-64627AFD2A93}"/>
          </ac:spMkLst>
        </pc:spChg>
        <pc:spChg chg="add mod">
          <ac:chgData name="Roussel, Gaetan" userId="269e9c6f-a5fe-49a6-9b6b-1c16ee3e16b1" providerId="ADAL" clId="{A43ED10B-C0D7-409E-AD3F-D6A5AE869F78}" dt="2022-06-27T13:33:34.132" v="7535" actId="207"/>
          <ac:spMkLst>
            <pc:docMk/>
            <pc:sldMk cId="3783824197" sldId="258"/>
            <ac:spMk id="35" creationId="{8670B6BC-7912-4367-A5AD-32BF36CE9A59}"/>
          </ac:spMkLst>
        </pc:spChg>
        <pc:spChg chg="add mod">
          <ac:chgData name="Roussel, Gaetan" userId="269e9c6f-a5fe-49a6-9b6b-1c16ee3e16b1" providerId="ADAL" clId="{A43ED10B-C0D7-409E-AD3F-D6A5AE869F78}" dt="2022-06-27T13:33:34.132" v="7535" actId="207"/>
          <ac:spMkLst>
            <pc:docMk/>
            <pc:sldMk cId="3783824197" sldId="258"/>
            <ac:spMk id="36" creationId="{4E716CF5-356E-400D-8D86-302CFBFF9728}"/>
          </ac:spMkLst>
        </pc:spChg>
        <pc:spChg chg="add mod">
          <ac:chgData name="Roussel, Gaetan" userId="269e9c6f-a5fe-49a6-9b6b-1c16ee3e16b1" providerId="ADAL" clId="{A43ED10B-C0D7-409E-AD3F-D6A5AE869F78}" dt="2022-06-27T13:33:34.132" v="7535" actId="207"/>
          <ac:spMkLst>
            <pc:docMk/>
            <pc:sldMk cId="3783824197" sldId="258"/>
            <ac:spMk id="37" creationId="{7123EEE7-FB5C-4E14-AE8E-A8BA5CFE23A8}"/>
          </ac:spMkLst>
        </pc:spChg>
        <pc:spChg chg="add mod">
          <ac:chgData name="Roussel, Gaetan" userId="269e9c6f-a5fe-49a6-9b6b-1c16ee3e16b1" providerId="ADAL" clId="{A43ED10B-C0D7-409E-AD3F-D6A5AE869F78}" dt="2022-06-24T15:27:30.770" v="404" actId="14100"/>
          <ac:spMkLst>
            <pc:docMk/>
            <pc:sldMk cId="3783824197" sldId="258"/>
            <ac:spMk id="38" creationId="{E52FCD2D-B127-414B-8EDB-A6F57199340D}"/>
          </ac:spMkLst>
        </pc:spChg>
        <pc:spChg chg="mod">
          <ac:chgData name="Roussel, Gaetan" userId="269e9c6f-a5fe-49a6-9b6b-1c16ee3e16b1" providerId="ADAL" clId="{A43ED10B-C0D7-409E-AD3F-D6A5AE869F78}" dt="2022-06-24T15:22:34.229" v="192"/>
          <ac:spMkLst>
            <pc:docMk/>
            <pc:sldMk cId="3783824197" sldId="258"/>
            <ac:spMk id="40" creationId="{DAFB7641-E864-4EAF-BC43-A5627AA83B01}"/>
          </ac:spMkLst>
        </pc:spChg>
        <pc:spChg chg="mod">
          <ac:chgData name="Roussel, Gaetan" userId="269e9c6f-a5fe-49a6-9b6b-1c16ee3e16b1" providerId="ADAL" clId="{A43ED10B-C0D7-409E-AD3F-D6A5AE869F78}" dt="2022-06-24T15:22:34.229" v="192"/>
          <ac:spMkLst>
            <pc:docMk/>
            <pc:sldMk cId="3783824197" sldId="258"/>
            <ac:spMk id="41" creationId="{B08898D0-D751-4F3D-8EE3-1B89ACC7986C}"/>
          </ac:spMkLst>
        </pc:spChg>
        <pc:spChg chg="add mod">
          <ac:chgData name="Roussel, Gaetan" userId="269e9c6f-a5fe-49a6-9b6b-1c16ee3e16b1" providerId="ADAL" clId="{A43ED10B-C0D7-409E-AD3F-D6A5AE869F78}" dt="2022-06-27T13:33:45.142" v="7536" actId="207"/>
          <ac:spMkLst>
            <pc:docMk/>
            <pc:sldMk cId="3783824197" sldId="258"/>
            <ac:spMk id="43" creationId="{2CF214F5-AFE0-42BB-BAFE-9A6441324F92}"/>
          </ac:spMkLst>
        </pc:spChg>
        <pc:spChg chg="add mod">
          <ac:chgData name="Roussel, Gaetan" userId="269e9c6f-a5fe-49a6-9b6b-1c16ee3e16b1" providerId="ADAL" clId="{A43ED10B-C0D7-409E-AD3F-D6A5AE869F78}" dt="2022-06-27T13:33:45.142" v="7536" actId="207"/>
          <ac:spMkLst>
            <pc:docMk/>
            <pc:sldMk cId="3783824197" sldId="258"/>
            <ac:spMk id="44" creationId="{4C2FF9BF-D50C-4B5B-8014-3D2A71099FDF}"/>
          </ac:spMkLst>
        </pc:spChg>
        <pc:spChg chg="add mod">
          <ac:chgData name="Roussel, Gaetan" userId="269e9c6f-a5fe-49a6-9b6b-1c16ee3e16b1" providerId="ADAL" clId="{A43ED10B-C0D7-409E-AD3F-D6A5AE869F78}" dt="2022-06-24T15:26:27.897" v="315" actId="1035"/>
          <ac:spMkLst>
            <pc:docMk/>
            <pc:sldMk cId="3783824197" sldId="258"/>
            <ac:spMk id="45" creationId="{D93F3BC2-3EB9-4B16-85A7-4C631A9E9B26}"/>
          </ac:spMkLst>
        </pc:spChg>
        <pc:spChg chg="add mod">
          <ac:chgData name="Roussel, Gaetan" userId="269e9c6f-a5fe-49a6-9b6b-1c16ee3e16b1" providerId="ADAL" clId="{A43ED10B-C0D7-409E-AD3F-D6A5AE869F78}" dt="2022-06-27T13:33:45.142" v="7536" actId="207"/>
          <ac:spMkLst>
            <pc:docMk/>
            <pc:sldMk cId="3783824197" sldId="258"/>
            <ac:spMk id="46" creationId="{2A257659-9AD9-4314-BB05-20E473914F03}"/>
          </ac:spMkLst>
        </pc:spChg>
        <pc:spChg chg="add mod">
          <ac:chgData name="Roussel, Gaetan" userId="269e9c6f-a5fe-49a6-9b6b-1c16ee3e16b1" providerId="ADAL" clId="{A43ED10B-C0D7-409E-AD3F-D6A5AE869F78}" dt="2022-06-24T15:26:27.897" v="315" actId="1035"/>
          <ac:spMkLst>
            <pc:docMk/>
            <pc:sldMk cId="3783824197" sldId="258"/>
            <ac:spMk id="47" creationId="{C493E908-53EB-429D-AD6B-AF2A8B768FA9}"/>
          </ac:spMkLst>
        </pc:spChg>
        <pc:spChg chg="add mod">
          <ac:chgData name="Roussel, Gaetan" userId="269e9c6f-a5fe-49a6-9b6b-1c16ee3e16b1" providerId="ADAL" clId="{A43ED10B-C0D7-409E-AD3F-D6A5AE869F78}" dt="2022-06-27T13:33:45.142" v="7536" actId="207"/>
          <ac:spMkLst>
            <pc:docMk/>
            <pc:sldMk cId="3783824197" sldId="258"/>
            <ac:spMk id="48" creationId="{648F4A69-55DF-4C85-B1E2-FDBB56D4E570}"/>
          </ac:spMkLst>
        </pc:spChg>
        <pc:spChg chg="mod">
          <ac:chgData name="Roussel, Gaetan" userId="269e9c6f-a5fe-49a6-9b6b-1c16ee3e16b1" providerId="ADAL" clId="{A43ED10B-C0D7-409E-AD3F-D6A5AE869F78}" dt="2022-06-27T13:33:57.291" v="7537" actId="207"/>
          <ac:spMkLst>
            <pc:docMk/>
            <pc:sldMk cId="3783824197" sldId="258"/>
            <ac:spMk id="50" creationId="{0658AADD-CC9C-4F1E-8257-7136C607EB34}"/>
          </ac:spMkLst>
        </pc:spChg>
        <pc:spChg chg="mod">
          <ac:chgData name="Roussel, Gaetan" userId="269e9c6f-a5fe-49a6-9b6b-1c16ee3e16b1" providerId="ADAL" clId="{A43ED10B-C0D7-409E-AD3F-D6A5AE869F78}" dt="2022-06-27T13:33:57.291" v="7537" actId="207"/>
          <ac:spMkLst>
            <pc:docMk/>
            <pc:sldMk cId="3783824197" sldId="258"/>
            <ac:spMk id="51" creationId="{EB0A610C-1B1D-436E-A98A-D4441B40069F}"/>
          </ac:spMkLst>
        </pc:spChg>
        <pc:spChg chg="mod">
          <ac:chgData name="Roussel, Gaetan" userId="269e9c6f-a5fe-49a6-9b6b-1c16ee3e16b1" providerId="ADAL" clId="{A43ED10B-C0D7-409E-AD3F-D6A5AE869F78}" dt="2022-06-27T13:33:57.291" v="7537" actId="207"/>
          <ac:spMkLst>
            <pc:docMk/>
            <pc:sldMk cId="3783824197" sldId="258"/>
            <ac:spMk id="52" creationId="{ACE3465F-86FF-40F3-ADEF-07FAC5EC4B3F}"/>
          </ac:spMkLst>
        </pc:spChg>
        <pc:spChg chg="mod">
          <ac:chgData name="Roussel, Gaetan" userId="269e9c6f-a5fe-49a6-9b6b-1c16ee3e16b1" providerId="ADAL" clId="{A43ED10B-C0D7-409E-AD3F-D6A5AE869F78}" dt="2022-06-27T13:33:57.291" v="7537" actId="207"/>
          <ac:spMkLst>
            <pc:docMk/>
            <pc:sldMk cId="3783824197" sldId="258"/>
            <ac:spMk id="53" creationId="{62CD60E7-FED7-4520-8236-031173D5B789}"/>
          </ac:spMkLst>
        </pc:spChg>
        <pc:spChg chg="mod">
          <ac:chgData name="Roussel, Gaetan" userId="269e9c6f-a5fe-49a6-9b6b-1c16ee3e16b1" providerId="ADAL" clId="{A43ED10B-C0D7-409E-AD3F-D6A5AE869F78}" dt="2022-06-27T13:34:01.728" v="7538" actId="207"/>
          <ac:spMkLst>
            <pc:docMk/>
            <pc:sldMk cId="3783824197" sldId="258"/>
            <ac:spMk id="55" creationId="{9FBD7308-951D-4911-958B-8F8C866CB312}"/>
          </ac:spMkLst>
        </pc:spChg>
        <pc:spChg chg="mod">
          <ac:chgData name="Roussel, Gaetan" userId="269e9c6f-a5fe-49a6-9b6b-1c16ee3e16b1" providerId="ADAL" clId="{A43ED10B-C0D7-409E-AD3F-D6A5AE869F78}" dt="2022-06-27T13:34:01.728" v="7538" actId="207"/>
          <ac:spMkLst>
            <pc:docMk/>
            <pc:sldMk cId="3783824197" sldId="258"/>
            <ac:spMk id="56" creationId="{04E6CE0D-591E-4D5E-A250-785F484A3E31}"/>
          </ac:spMkLst>
        </pc:spChg>
        <pc:spChg chg="mod">
          <ac:chgData name="Roussel, Gaetan" userId="269e9c6f-a5fe-49a6-9b6b-1c16ee3e16b1" providerId="ADAL" clId="{A43ED10B-C0D7-409E-AD3F-D6A5AE869F78}" dt="2022-06-27T13:34:01.728" v="7538" actId="207"/>
          <ac:spMkLst>
            <pc:docMk/>
            <pc:sldMk cId="3783824197" sldId="258"/>
            <ac:spMk id="57" creationId="{1E8492F7-1806-4078-BDE7-7B330638D65A}"/>
          </ac:spMkLst>
        </pc:spChg>
        <pc:spChg chg="mod">
          <ac:chgData name="Roussel, Gaetan" userId="269e9c6f-a5fe-49a6-9b6b-1c16ee3e16b1" providerId="ADAL" clId="{A43ED10B-C0D7-409E-AD3F-D6A5AE869F78}" dt="2022-06-24T15:26:27.897" v="315" actId="1035"/>
          <ac:spMkLst>
            <pc:docMk/>
            <pc:sldMk cId="3783824197" sldId="258"/>
            <ac:spMk id="59" creationId="{880A641B-0520-4AEA-98CC-E81A2BC86A73}"/>
          </ac:spMkLst>
        </pc:spChg>
        <pc:spChg chg="mod">
          <ac:chgData name="Roussel, Gaetan" userId="269e9c6f-a5fe-49a6-9b6b-1c16ee3e16b1" providerId="ADAL" clId="{A43ED10B-C0D7-409E-AD3F-D6A5AE869F78}" dt="2022-06-24T15:26:27.897" v="315" actId="1035"/>
          <ac:spMkLst>
            <pc:docMk/>
            <pc:sldMk cId="3783824197" sldId="258"/>
            <ac:spMk id="60" creationId="{64DAF1F4-944A-41E4-8E31-60972F37A69D}"/>
          </ac:spMkLst>
        </pc:spChg>
        <pc:spChg chg="mod">
          <ac:chgData name="Roussel, Gaetan" userId="269e9c6f-a5fe-49a6-9b6b-1c16ee3e16b1" providerId="ADAL" clId="{A43ED10B-C0D7-409E-AD3F-D6A5AE869F78}" dt="2022-06-24T15:26:27.897" v="315" actId="1035"/>
          <ac:spMkLst>
            <pc:docMk/>
            <pc:sldMk cId="3783824197" sldId="258"/>
            <ac:spMk id="61" creationId="{D853CFD1-136C-4945-90E3-A58F7ED03839}"/>
          </ac:spMkLst>
        </pc:spChg>
        <pc:spChg chg="mod">
          <ac:chgData name="Roussel, Gaetan" userId="269e9c6f-a5fe-49a6-9b6b-1c16ee3e16b1" providerId="ADAL" clId="{A43ED10B-C0D7-409E-AD3F-D6A5AE869F78}" dt="2022-06-24T15:26:27.897" v="315" actId="1035"/>
          <ac:spMkLst>
            <pc:docMk/>
            <pc:sldMk cId="3783824197" sldId="258"/>
            <ac:spMk id="62" creationId="{0931B844-53C4-44A1-8DA9-F44108A06094}"/>
          </ac:spMkLst>
        </pc:spChg>
        <pc:spChg chg="mod">
          <ac:chgData name="Roussel, Gaetan" userId="269e9c6f-a5fe-49a6-9b6b-1c16ee3e16b1" providerId="ADAL" clId="{A43ED10B-C0D7-409E-AD3F-D6A5AE869F78}" dt="2022-06-24T15:26:27.897" v="315" actId="1035"/>
          <ac:spMkLst>
            <pc:docMk/>
            <pc:sldMk cId="3783824197" sldId="258"/>
            <ac:spMk id="63" creationId="{0CE9B024-6BDA-4067-B885-F9C886EB6B35}"/>
          </ac:spMkLst>
        </pc:spChg>
        <pc:spChg chg="mod">
          <ac:chgData name="Roussel, Gaetan" userId="269e9c6f-a5fe-49a6-9b6b-1c16ee3e16b1" providerId="ADAL" clId="{A43ED10B-C0D7-409E-AD3F-D6A5AE869F78}" dt="2022-06-24T15:26:27.897" v="315" actId="1035"/>
          <ac:spMkLst>
            <pc:docMk/>
            <pc:sldMk cId="3783824197" sldId="258"/>
            <ac:spMk id="64" creationId="{8E422EE2-191C-41BB-AF35-607A013E7E92}"/>
          </ac:spMkLst>
        </pc:spChg>
        <pc:spChg chg="mod">
          <ac:chgData name="Roussel, Gaetan" userId="269e9c6f-a5fe-49a6-9b6b-1c16ee3e16b1" providerId="ADAL" clId="{A43ED10B-C0D7-409E-AD3F-D6A5AE869F78}" dt="2022-06-24T15:26:27.897" v="315" actId="1035"/>
          <ac:spMkLst>
            <pc:docMk/>
            <pc:sldMk cId="3783824197" sldId="258"/>
            <ac:spMk id="65" creationId="{E368AEAC-9F8B-4F10-B7A6-B86D391129E5}"/>
          </ac:spMkLst>
        </pc:spChg>
        <pc:spChg chg="mod">
          <ac:chgData name="Roussel, Gaetan" userId="269e9c6f-a5fe-49a6-9b6b-1c16ee3e16b1" providerId="ADAL" clId="{A43ED10B-C0D7-409E-AD3F-D6A5AE869F78}" dt="2022-06-24T15:26:27.897" v="315" actId="1035"/>
          <ac:spMkLst>
            <pc:docMk/>
            <pc:sldMk cId="3783824197" sldId="258"/>
            <ac:spMk id="66" creationId="{6F79E8E8-FF2F-4C19-AD80-76389F817181}"/>
          </ac:spMkLst>
        </pc:spChg>
        <pc:spChg chg="mod">
          <ac:chgData name="Roussel, Gaetan" userId="269e9c6f-a5fe-49a6-9b6b-1c16ee3e16b1" providerId="ADAL" clId="{A43ED10B-C0D7-409E-AD3F-D6A5AE869F78}" dt="2022-06-24T15:26:27.897" v="315" actId="1035"/>
          <ac:spMkLst>
            <pc:docMk/>
            <pc:sldMk cId="3783824197" sldId="258"/>
            <ac:spMk id="67" creationId="{008F1809-7547-44BA-91E4-93C44A773370}"/>
          </ac:spMkLst>
        </pc:spChg>
        <pc:spChg chg="mod">
          <ac:chgData name="Roussel, Gaetan" userId="269e9c6f-a5fe-49a6-9b6b-1c16ee3e16b1" providerId="ADAL" clId="{A43ED10B-C0D7-409E-AD3F-D6A5AE869F78}" dt="2022-06-24T15:26:27.897" v="315" actId="1035"/>
          <ac:spMkLst>
            <pc:docMk/>
            <pc:sldMk cId="3783824197" sldId="258"/>
            <ac:spMk id="68" creationId="{65BF173F-8BD4-4775-B833-BC7061D28C3C}"/>
          </ac:spMkLst>
        </pc:spChg>
        <pc:spChg chg="mod">
          <ac:chgData name="Roussel, Gaetan" userId="269e9c6f-a5fe-49a6-9b6b-1c16ee3e16b1" providerId="ADAL" clId="{A43ED10B-C0D7-409E-AD3F-D6A5AE869F78}" dt="2022-06-27T13:34:01.728" v="7538" actId="207"/>
          <ac:spMkLst>
            <pc:docMk/>
            <pc:sldMk cId="3783824197" sldId="258"/>
            <ac:spMk id="70" creationId="{8B4E874F-183E-4573-87AE-7D1571EC4B11}"/>
          </ac:spMkLst>
        </pc:spChg>
        <pc:spChg chg="mod">
          <ac:chgData name="Roussel, Gaetan" userId="269e9c6f-a5fe-49a6-9b6b-1c16ee3e16b1" providerId="ADAL" clId="{A43ED10B-C0D7-409E-AD3F-D6A5AE869F78}" dt="2022-06-27T13:34:01.728" v="7538" actId="207"/>
          <ac:spMkLst>
            <pc:docMk/>
            <pc:sldMk cId="3783824197" sldId="258"/>
            <ac:spMk id="71" creationId="{797B2DD0-4EC3-4028-9A69-A8FEBE1F6609}"/>
          </ac:spMkLst>
        </pc:spChg>
        <pc:spChg chg="mod">
          <ac:chgData name="Roussel, Gaetan" userId="269e9c6f-a5fe-49a6-9b6b-1c16ee3e16b1" providerId="ADAL" clId="{A43ED10B-C0D7-409E-AD3F-D6A5AE869F78}" dt="2022-06-27T13:34:01.728" v="7538" actId="207"/>
          <ac:spMkLst>
            <pc:docMk/>
            <pc:sldMk cId="3783824197" sldId="258"/>
            <ac:spMk id="73" creationId="{C7408B47-B1AF-47EE-8637-652BB3D4DBFB}"/>
          </ac:spMkLst>
        </pc:spChg>
        <pc:spChg chg="mod">
          <ac:chgData name="Roussel, Gaetan" userId="269e9c6f-a5fe-49a6-9b6b-1c16ee3e16b1" providerId="ADAL" clId="{A43ED10B-C0D7-409E-AD3F-D6A5AE869F78}" dt="2022-06-27T13:34:01.728" v="7538" actId="207"/>
          <ac:spMkLst>
            <pc:docMk/>
            <pc:sldMk cId="3783824197" sldId="258"/>
            <ac:spMk id="74" creationId="{8CD910DF-55B5-4E7A-9387-191F9878AA06}"/>
          </ac:spMkLst>
        </pc:spChg>
        <pc:spChg chg="mod">
          <ac:chgData name="Roussel, Gaetan" userId="269e9c6f-a5fe-49a6-9b6b-1c16ee3e16b1" providerId="ADAL" clId="{A43ED10B-C0D7-409E-AD3F-D6A5AE869F78}" dt="2022-06-27T13:34:01.728" v="7538" actId="207"/>
          <ac:spMkLst>
            <pc:docMk/>
            <pc:sldMk cId="3783824197" sldId="258"/>
            <ac:spMk id="75" creationId="{0DF98F0D-38B7-4D80-A219-0DA1E38F2D10}"/>
          </ac:spMkLst>
        </pc:spChg>
        <pc:spChg chg="mod">
          <ac:chgData name="Roussel, Gaetan" userId="269e9c6f-a5fe-49a6-9b6b-1c16ee3e16b1" providerId="ADAL" clId="{A43ED10B-C0D7-409E-AD3F-D6A5AE869F78}" dt="2022-06-27T13:34:01.728" v="7538" actId="207"/>
          <ac:spMkLst>
            <pc:docMk/>
            <pc:sldMk cId="3783824197" sldId="258"/>
            <ac:spMk id="76" creationId="{C5D73188-FFB7-4B67-B90D-D3C9A59FBF92}"/>
          </ac:spMkLst>
        </pc:spChg>
        <pc:spChg chg="mod">
          <ac:chgData name="Roussel, Gaetan" userId="269e9c6f-a5fe-49a6-9b6b-1c16ee3e16b1" providerId="ADAL" clId="{A43ED10B-C0D7-409E-AD3F-D6A5AE869F78}" dt="2022-06-27T13:34:01.728" v="7538" actId="207"/>
          <ac:spMkLst>
            <pc:docMk/>
            <pc:sldMk cId="3783824197" sldId="258"/>
            <ac:spMk id="77" creationId="{2CE8A90C-6C7C-4923-B0D1-F9499BC53964}"/>
          </ac:spMkLst>
        </pc:spChg>
        <pc:spChg chg="mod">
          <ac:chgData name="Roussel, Gaetan" userId="269e9c6f-a5fe-49a6-9b6b-1c16ee3e16b1" providerId="ADAL" clId="{A43ED10B-C0D7-409E-AD3F-D6A5AE869F78}" dt="2022-06-27T13:35:13.120" v="7554" actId="20577"/>
          <ac:spMkLst>
            <pc:docMk/>
            <pc:sldMk cId="3783824197" sldId="258"/>
            <ac:spMk id="79" creationId="{733BE0CE-016B-40E0-AAC6-0630EC80F3AB}"/>
          </ac:spMkLst>
        </pc:spChg>
        <pc:spChg chg="mod">
          <ac:chgData name="Roussel, Gaetan" userId="269e9c6f-a5fe-49a6-9b6b-1c16ee3e16b1" providerId="ADAL" clId="{A43ED10B-C0D7-409E-AD3F-D6A5AE869F78}" dt="2022-06-24T15:22:34.229" v="192"/>
          <ac:spMkLst>
            <pc:docMk/>
            <pc:sldMk cId="3783824197" sldId="258"/>
            <ac:spMk id="81" creationId="{6A7A1275-870D-44A5-AE96-BF32913BA9E9}"/>
          </ac:spMkLst>
        </pc:spChg>
        <pc:spChg chg="mod">
          <ac:chgData name="Roussel, Gaetan" userId="269e9c6f-a5fe-49a6-9b6b-1c16ee3e16b1" providerId="ADAL" clId="{A43ED10B-C0D7-409E-AD3F-D6A5AE869F78}" dt="2022-06-24T15:22:34.229" v="192"/>
          <ac:spMkLst>
            <pc:docMk/>
            <pc:sldMk cId="3783824197" sldId="258"/>
            <ac:spMk id="82" creationId="{94C5EE55-133D-4392-B963-147E1C8D64DB}"/>
          </ac:spMkLst>
        </pc:spChg>
        <pc:spChg chg="mod">
          <ac:chgData name="Roussel, Gaetan" userId="269e9c6f-a5fe-49a6-9b6b-1c16ee3e16b1" providerId="ADAL" clId="{A43ED10B-C0D7-409E-AD3F-D6A5AE869F78}" dt="2022-06-24T15:22:34.229" v="192"/>
          <ac:spMkLst>
            <pc:docMk/>
            <pc:sldMk cId="3783824197" sldId="258"/>
            <ac:spMk id="83" creationId="{5ED0A2DA-677D-4E40-88A2-28DF06CEE4B7}"/>
          </ac:spMkLst>
        </pc:spChg>
        <pc:spChg chg="mod">
          <ac:chgData name="Roussel, Gaetan" userId="269e9c6f-a5fe-49a6-9b6b-1c16ee3e16b1" providerId="ADAL" clId="{A43ED10B-C0D7-409E-AD3F-D6A5AE869F78}" dt="2022-06-24T15:22:34.229" v="192"/>
          <ac:spMkLst>
            <pc:docMk/>
            <pc:sldMk cId="3783824197" sldId="258"/>
            <ac:spMk id="84" creationId="{E97DE492-24A0-44CF-B257-E66893B60145}"/>
          </ac:spMkLst>
        </pc:spChg>
        <pc:spChg chg="mod">
          <ac:chgData name="Roussel, Gaetan" userId="269e9c6f-a5fe-49a6-9b6b-1c16ee3e16b1" providerId="ADAL" clId="{A43ED10B-C0D7-409E-AD3F-D6A5AE869F78}" dt="2022-06-24T15:22:34.229" v="192"/>
          <ac:spMkLst>
            <pc:docMk/>
            <pc:sldMk cId="3783824197" sldId="258"/>
            <ac:spMk id="85" creationId="{4FD06055-C16F-44C2-BD3D-3511C7EDDB42}"/>
          </ac:spMkLst>
        </pc:spChg>
        <pc:spChg chg="mod">
          <ac:chgData name="Roussel, Gaetan" userId="269e9c6f-a5fe-49a6-9b6b-1c16ee3e16b1" providerId="ADAL" clId="{A43ED10B-C0D7-409E-AD3F-D6A5AE869F78}" dt="2022-06-24T15:22:34.229" v="192"/>
          <ac:spMkLst>
            <pc:docMk/>
            <pc:sldMk cId="3783824197" sldId="258"/>
            <ac:spMk id="86" creationId="{675D3F98-571B-4D82-A362-447291A0BA62}"/>
          </ac:spMkLst>
        </pc:spChg>
        <pc:spChg chg="mod">
          <ac:chgData name="Roussel, Gaetan" userId="269e9c6f-a5fe-49a6-9b6b-1c16ee3e16b1" providerId="ADAL" clId="{A43ED10B-C0D7-409E-AD3F-D6A5AE869F78}" dt="2022-06-24T15:22:34.229" v="192"/>
          <ac:spMkLst>
            <pc:docMk/>
            <pc:sldMk cId="3783824197" sldId="258"/>
            <ac:spMk id="87" creationId="{93A522A3-864C-4723-9950-9965E9DAC059}"/>
          </ac:spMkLst>
        </pc:spChg>
        <pc:spChg chg="mod">
          <ac:chgData name="Roussel, Gaetan" userId="269e9c6f-a5fe-49a6-9b6b-1c16ee3e16b1" providerId="ADAL" clId="{A43ED10B-C0D7-409E-AD3F-D6A5AE869F78}" dt="2022-06-24T15:22:34.229" v="192"/>
          <ac:spMkLst>
            <pc:docMk/>
            <pc:sldMk cId="3783824197" sldId="258"/>
            <ac:spMk id="88" creationId="{E7AB2D65-4D1C-43E6-B68D-C4A362144E4C}"/>
          </ac:spMkLst>
        </pc:spChg>
        <pc:spChg chg="mod">
          <ac:chgData name="Roussel, Gaetan" userId="269e9c6f-a5fe-49a6-9b6b-1c16ee3e16b1" providerId="ADAL" clId="{A43ED10B-C0D7-409E-AD3F-D6A5AE869F78}" dt="2022-06-24T15:22:34.229" v="192"/>
          <ac:spMkLst>
            <pc:docMk/>
            <pc:sldMk cId="3783824197" sldId="258"/>
            <ac:spMk id="89" creationId="{2F079887-93F5-4786-A138-FF22A081E806}"/>
          </ac:spMkLst>
        </pc:spChg>
        <pc:spChg chg="mod">
          <ac:chgData name="Roussel, Gaetan" userId="269e9c6f-a5fe-49a6-9b6b-1c16ee3e16b1" providerId="ADAL" clId="{A43ED10B-C0D7-409E-AD3F-D6A5AE869F78}" dt="2022-06-24T15:22:34.229" v="192"/>
          <ac:spMkLst>
            <pc:docMk/>
            <pc:sldMk cId="3783824197" sldId="258"/>
            <ac:spMk id="90" creationId="{7B5066AC-832E-48E9-943D-D686E0EC4146}"/>
          </ac:spMkLst>
        </pc:spChg>
        <pc:spChg chg="add mod">
          <ac:chgData name="Roussel, Gaetan" userId="269e9c6f-a5fe-49a6-9b6b-1c16ee3e16b1" providerId="ADAL" clId="{A43ED10B-C0D7-409E-AD3F-D6A5AE869F78}" dt="2022-06-27T13:34:52.741" v="7549" actId="790"/>
          <ac:spMkLst>
            <pc:docMk/>
            <pc:sldMk cId="3783824197" sldId="258"/>
            <ac:spMk id="91" creationId="{3E4097B5-BE39-4B50-83BF-2EF4C7661B51}"/>
          </ac:spMkLst>
        </pc:spChg>
        <pc:spChg chg="add mod">
          <ac:chgData name="Roussel, Gaetan" userId="269e9c6f-a5fe-49a6-9b6b-1c16ee3e16b1" providerId="ADAL" clId="{A43ED10B-C0D7-409E-AD3F-D6A5AE869F78}" dt="2022-06-27T13:35:01.471" v="7551" actId="790"/>
          <ac:spMkLst>
            <pc:docMk/>
            <pc:sldMk cId="3783824197" sldId="258"/>
            <ac:spMk id="92" creationId="{B0DADA0D-97D0-4794-A9B6-2E358458206F}"/>
          </ac:spMkLst>
        </pc:spChg>
        <pc:spChg chg="add mod">
          <ac:chgData name="Roussel, Gaetan" userId="269e9c6f-a5fe-49a6-9b6b-1c16ee3e16b1" providerId="ADAL" clId="{A43ED10B-C0D7-409E-AD3F-D6A5AE869F78}" dt="2022-06-24T15:26:44.229" v="331" actId="1035"/>
          <ac:spMkLst>
            <pc:docMk/>
            <pc:sldMk cId="3783824197" sldId="258"/>
            <ac:spMk id="93" creationId="{825895FD-2F1F-4DA8-9282-5BD6847F019B}"/>
          </ac:spMkLst>
        </pc:spChg>
        <pc:spChg chg="mod">
          <ac:chgData name="Roussel, Gaetan" userId="269e9c6f-a5fe-49a6-9b6b-1c16ee3e16b1" providerId="ADAL" clId="{A43ED10B-C0D7-409E-AD3F-D6A5AE869F78}" dt="2022-06-27T13:32:59.310" v="7534" actId="20577"/>
          <ac:spMkLst>
            <pc:docMk/>
            <pc:sldMk cId="3783824197" sldId="258"/>
            <ac:spMk id="95" creationId="{2BB5A16F-DA4D-4570-A722-5CFE2F4C8DC8}"/>
          </ac:spMkLst>
        </pc:spChg>
        <pc:spChg chg="mod">
          <ac:chgData name="Roussel, Gaetan" userId="269e9c6f-a5fe-49a6-9b6b-1c16ee3e16b1" providerId="ADAL" clId="{A43ED10B-C0D7-409E-AD3F-D6A5AE869F78}" dt="2022-06-24T15:22:34.229" v="192"/>
          <ac:spMkLst>
            <pc:docMk/>
            <pc:sldMk cId="3783824197" sldId="258"/>
            <ac:spMk id="97" creationId="{EB7478AD-E32E-486C-9EB8-AE9FB2E9A0D6}"/>
          </ac:spMkLst>
        </pc:spChg>
        <pc:spChg chg="mod">
          <ac:chgData name="Roussel, Gaetan" userId="269e9c6f-a5fe-49a6-9b6b-1c16ee3e16b1" providerId="ADAL" clId="{A43ED10B-C0D7-409E-AD3F-D6A5AE869F78}" dt="2022-06-24T15:22:34.229" v="192"/>
          <ac:spMkLst>
            <pc:docMk/>
            <pc:sldMk cId="3783824197" sldId="258"/>
            <ac:spMk id="98" creationId="{0248E156-4BA3-4245-B661-F2616CD766E2}"/>
          </ac:spMkLst>
        </pc:spChg>
        <pc:spChg chg="add mod">
          <ac:chgData name="Roussel, Gaetan" userId="269e9c6f-a5fe-49a6-9b6b-1c16ee3e16b1" providerId="ADAL" clId="{A43ED10B-C0D7-409E-AD3F-D6A5AE869F78}" dt="2022-06-28T18:24:04.762" v="9540" actId="403"/>
          <ac:spMkLst>
            <pc:docMk/>
            <pc:sldMk cId="3783824197" sldId="258"/>
            <ac:spMk id="99" creationId="{A8D85E43-268B-4F4F-8484-17B5DCA38FDA}"/>
          </ac:spMkLst>
        </pc:spChg>
        <pc:grpChg chg="add del mod">
          <ac:chgData name="Roussel, Gaetan" userId="269e9c6f-a5fe-49a6-9b6b-1c16ee3e16b1" providerId="ADAL" clId="{A43ED10B-C0D7-409E-AD3F-D6A5AE869F78}" dt="2022-06-30T08:14:40.046" v="11172" actId="165"/>
          <ac:grpSpMkLst>
            <pc:docMk/>
            <pc:sldMk cId="3783824197" sldId="258"/>
            <ac:grpSpMk id="6" creationId="{38D64908-B413-4240-BC7D-44DDB7DB2DC9}"/>
          </ac:grpSpMkLst>
        </pc:grpChg>
        <pc:grpChg chg="add mod">
          <ac:chgData name="Roussel, Gaetan" userId="269e9c6f-a5fe-49a6-9b6b-1c16ee3e16b1" providerId="ADAL" clId="{A43ED10B-C0D7-409E-AD3F-D6A5AE869F78}" dt="2022-06-24T15:22:34.229" v="192"/>
          <ac:grpSpMkLst>
            <pc:docMk/>
            <pc:sldMk cId="3783824197" sldId="258"/>
            <ac:grpSpMk id="11" creationId="{9E494086-7DBD-4834-960D-E8B6413D42B2}"/>
          </ac:grpSpMkLst>
        </pc:grpChg>
        <pc:grpChg chg="add mod">
          <ac:chgData name="Roussel, Gaetan" userId="269e9c6f-a5fe-49a6-9b6b-1c16ee3e16b1" providerId="ADAL" clId="{A43ED10B-C0D7-409E-AD3F-D6A5AE869F78}" dt="2022-06-24T15:22:34.229" v="192"/>
          <ac:grpSpMkLst>
            <pc:docMk/>
            <pc:sldMk cId="3783824197" sldId="258"/>
            <ac:grpSpMk id="21" creationId="{7C37F390-4380-457D-ACF7-A9F19842DF4F}"/>
          </ac:grpSpMkLst>
        </pc:grpChg>
        <pc:grpChg chg="add mod">
          <ac:chgData name="Roussel, Gaetan" userId="269e9c6f-a5fe-49a6-9b6b-1c16ee3e16b1" providerId="ADAL" clId="{A43ED10B-C0D7-409E-AD3F-D6A5AE869F78}" dt="2022-06-24T15:27:04.674" v="378" actId="1038"/>
          <ac:grpSpMkLst>
            <pc:docMk/>
            <pc:sldMk cId="3783824197" sldId="258"/>
            <ac:grpSpMk id="39" creationId="{0FCC70BC-09FB-4F48-9D36-B90E5DBE1C93}"/>
          </ac:grpSpMkLst>
        </pc:grpChg>
        <pc:grpChg chg="add mod">
          <ac:chgData name="Roussel, Gaetan" userId="269e9c6f-a5fe-49a6-9b6b-1c16ee3e16b1" providerId="ADAL" clId="{A43ED10B-C0D7-409E-AD3F-D6A5AE869F78}" dt="2022-06-27T13:33:57.291" v="7537" actId="207"/>
          <ac:grpSpMkLst>
            <pc:docMk/>
            <pc:sldMk cId="3783824197" sldId="258"/>
            <ac:grpSpMk id="49" creationId="{FEE3475E-C13B-4880-973D-B0C9E650D7FA}"/>
          </ac:grpSpMkLst>
        </pc:grpChg>
        <pc:grpChg chg="add mod">
          <ac:chgData name="Roussel, Gaetan" userId="269e9c6f-a5fe-49a6-9b6b-1c16ee3e16b1" providerId="ADAL" clId="{A43ED10B-C0D7-409E-AD3F-D6A5AE869F78}" dt="2022-06-27T13:34:01.728" v="7538" actId="207"/>
          <ac:grpSpMkLst>
            <pc:docMk/>
            <pc:sldMk cId="3783824197" sldId="258"/>
            <ac:grpSpMk id="54" creationId="{8034DB0C-B11E-4F37-B21F-09318271EEFF}"/>
          </ac:grpSpMkLst>
        </pc:grpChg>
        <pc:grpChg chg="add mod">
          <ac:chgData name="Roussel, Gaetan" userId="269e9c6f-a5fe-49a6-9b6b-1c16ee3e16b1" providerId="ADAL" clId="{A43ED10B-C0D7-409E-AD3F-D6A5AE869F78}" dt="2022-06-24T15:26:27.897" v="315" actId="1035"/>
          <ac:grpSpMkLst>
            <pc:docMk/>
            <pc:sldMk cId="3783824197" sldId="258"/>
            <ac:grpSpMk id="58" creationId="{95558CDA-8F23-49A0-AA53-1C304A4FA046}"/>
          </ac:grpSpMkLst>
        </pc:grpChg>
        <pc:grpChg chg="add mod">
          <ac:chgData name="Roussel, Gaetan" userId="269e9c6f-a5fe-49a6-9b6b-1c16ee3e16b1" providerId="ADAL" clId="{A43ED10B-C0D7-409E-AD3F-D6A5AE869F78}" dt="2022-06-27T13:34:01.728" v="7538" actId="207"/>
          <ac:grpSpMkLst>
            <pc:docMk/>
            <pc:sldMk cId="3783824197" sldId="258"/>
            <ac:grpSpMk id="69" creationId="{6D94BBF8-A25D-442F-84DD-30D21EE5D22D}"/>
          </ac:grpSpMkLst>
        </pc:grpChg>
        <pc:grpChg chg="add mod">
          <ac:chgData name="Roussel, Gaetan" userId="269e9c6f-a5fe-49a6-9b6b-1c16ee3e16b1" providerId="ADAL" clId="{A43ED10B-C0D7-409E-AD3F-D6A5AE869F78}" dt="2022-06-27T13:34:01.728" v="7538" actId="207"/>
          <ac:grpSpMkLst>
            <pc:docMk/>
            <pc:sldMk cId="3783824197" sldId="258"/>
            <ac:grpSpMk id="72" creationId="{64BF05AB-0FEB-4236-9966-D3F2F71758B3}"/>
          </ac:grpSpMkLst>
        </pc:grpChg>
        <pc:grpChg chg="add mod">
          <ac:chgData name="Roussel, Gaetan" userId="269e9c6f-a5fe-49a6-9b6b-1c16ee3e16b1" providerId="ADAL" clId="{A43ED10B-C0D7-409E-AD3F-D6A5AE869F78}" dt="2022-06-24T15:26:44.229" v="331" actId="1035"/>
          <ac:grpSpMkLst>
            <pc:docMk/>
            <pc:sldMk cId="3783824197" sldId="258"/>
            <ac:grpSpMk id="78" creationId="{D6E99003-D35B-4A36-B5B6-56687B17D98C}"/>
          </ac:grpSpMkLst>
        </pc:grpChg>
        <pc:grpChg chg="mod">
          <ac:chgData name="Roussel, Gaetan" userId="269e9c6f-a5fe-49a6-9b6b-1c16ee3e16b1" providerId="ADAL" clId="{A43ED10B-C0D7-409E-AD3F-D6A5AE869F78}" dt="2022-06-24T15:22:34.229" v="192"/>
          <ac:grpSpMkLst>
            <pc:docMk/>
            <pc:sldMk cId="3783824197" sldId="258"/>
            <ac:grpSpMk id="80" creationId="{EFE7BE4A-0164-46E3-8E88-8C1E58B4A17D}"/>
          </ac:grpSpMkLst>
        </pc:grpChg>
        <pc:grpChg chg="add mod">
          <ac:chgData name="Roussel, Gaetan" userId="269e9c6f-a5fe-49a6-9b6b-1c16ee3e16b1" providerId="ADAL" clId="{A43ED10B-C0D7-409E-AD3F-D6A5AE869F78}" dt="2022-06-24T15:23:11.097" v="196" actId="1076"/>
          <ac:grpSpMkLst>
            <pc:docMk/>
            <pc:sldMk cId="3783824197" sldId="258"/>
            <ac:grpSpMk id="94" creationId="{582DCD18-4A22-47C3-AD77-C7816FD96487}"/>
          </ac:grpSpMkLst>
        </pc:grpChg>
        <pc:grpChg chg="mod">
          <ac:chgData name="Roussel, Gaetan" userId="269e9c6f-a5fe-49a6-9b6b-1c16ee3e16b1" providerId="ADAL" clId="{A43ED10B-C0D7-409E-AD3F-D6A5AE869F78}" dt="2022-06-24T15:22:34.229" v="192"/>
          <ac:grpSpMkLst>
            <pc:docMk/>
            <pc:sldMk cId="3783824197" sldId="258"/>
            <ac:grpSpMk id="96" creationId="{CC035D77-3834-402B-B668-185DFBD5D4AE}"/>
          </ac:grpSpMkLst>
        </pc:grpChg>
        <pc:picChg chg="add mod">
          <ac:chgData name="Roussel, Gaetan" userId="269e9c6f-a5fe-49a6-9b6b-1c16ee3e16b1" providerId="ADAL" clId="{A43ED10B-C0D7-409E-AD3F-D6A5AE869F78}" dt="2022-06-30T08:15:27.906" v="11180" actId="14100"/>
          <ac:picMkLst>
            <pc:docMk/>
            <pc:sldMk cId="3783824197" sldId="258"/>
            <ac:picMk id="2" creationId="{ADE95F30-28CE-4B4A-AAD0-E7A553D4C2F4}"/>
          </ac:picMkLst>
        </pc:picChg>
        <pc:picChg chg="add mod">
          <ac:chgData name="Roussel, Gaetan" userId="269e9c6f-a5fe-49a6-9b6b-1c16ee3e16b1" providerId="ADAL" clId="{A43ED10B-C0D7-409E-AD3F-D6A5AE869F78}" dt="2022-06-24T15:22:34.229" v="192"/>
          <ac:picMkLst>
            <pc:docMk/>
            <pc:sldMk cId="3783824197" sldId="258"/>
            <ac:picMk id="10" creationId="{F5DB796D-FF9C-4D45-A1E4-17A4DC7DB4DE}"/>
          </ac:picMkLst>
        </pc:picChg>
        <pc:picChg chg="add mod">
          <ac:chgData name="Roussel, Gaetan" userId="269e9c6f-a5fe-49a6-9b6b-1c16ee3e16b1" providerId="ADAL" clId="{A43ED10B-C0D7-409E-AD3F-D6A5AE869F78}" dt="2022-06-24T15:26:27.897" v="315" actId="1035"/>
          <ac:picMkLst>
            <pc:docMk/>
            <pc:sldMk cId="3783824197" sldId="258"/>
            <ac:picMk id="42" creationId="{578E68A0-BDDD-4B7A-890F-1F1E9D2B7710}"/>
          </ac:picMkLst>
        </pc:picChg>
        <pc:picChg chg="add del mod topLvl">
          <ac:chgData name="Roussel, Gaetan" userId="269e9c6f-a5fe-49a6-9b6b-1c16ee3e16b1" providerId="ADAL" clId="{A43ED10B-C0D7-409E-AD3F-D6A5AE869F78}" dt="2022-06-30T08:15:10.503" v="11173" actId="478"/>
          <ac:picMkLst>
            <pc:docMk/>
            <pc:sldMk cId="3783824197" sldId="258"/>
            <ac:picMk id="1026" creationId="{4F64F668-1034-42D5-A1A7-69139D38FDAF}"/>
          </ac:picMkLst>
        </pc:picChg>
        <pc:picChg chg="add mod topLvl">
          <ac:chgData name="Roussel, Gaetan" userId="269e9c6f-a5fe-49a6-9b6b-1c16ee3e16b1" providerId="ADAL" clId="{A43ED10B-C0D7-409E-AD3F-D6A5AE869F78}" dt="2022-06-30T08:14:40.046" v="11172" actId="165"/>
          <ac:picMkLst>
            <pc:docMk/>
            <pc:sldMk cId="3783824197" sldId="258"/>
            <ac:picMk id="1028" creationId="{4831ECA3-7EC4-432C-9612-DE5ED7997BD4}"/>
          </ac:picMkLst>
        </pc:picChg>
      </pc:sldChg>
      <pc:sldChg chg="addSp delSp modSp new mod ord">
        <pc:chgData name="Roussel, Gaetan" userId="269e9c6f-a5fe-49a6-9b6b-1c16ee3e16b1" providerId="ADAL" clId="{A43ED10B-C0D7-409E-AD3F-D6A5AE869F78}" dt="2022-06-27T13:22:21.129" v="7466" actId="790"/>
        <pc:sldMkLst>
          <pc:docMk/>
          <pc:sldMk cId="3923878654" sldId="259"/>
        </pc:sldMkLst>
        <pc:spChg chg="del">
          <ac:chgData name="Roussel, Gaetan" userId="269e9c6f-a5fe-49a6-9b6b-1c16ee3e16b1" providerId="ADAL" clId="{A43ED10B-C0D7-409E-AD3F-D6A5AE869F78}" dt="2022-06-24T14:05:50.779" v="40" actId="26606"/>
          <ac:spMkLst>
            <pc:docMk/>
            <pc:sldMk cId="3923878654" sldId="259"/>
            <ac:spMk id="2" creationId="{E3A9707B-E315-43DC-8B55-7990F0FFF142}"/>
          </ac:spMkLst>
        </pc:spChg>
        <pc:spChg chg="del">
          <ac:chgData name="Roussel, Gaetan" userId="269e9c6f-a5fe-49a6-9b6b-1c16ee3e16b1" providerId="ADAL" clId="{A43ED10B-C0D7-409E-AD3F-D6A5AE869F78}" dt="2022-06-24T14:05:50.779" v="40" actId="26606"/>
          <ac:spMkLst>
            <pc:docMk/>
            <pc:sldMk cId="3923878654" sldId="259"/>
            <ac:spMk id="3" creationId="{C439958B-980C-4509-9BC8-5165C16EBD2A}"/>
          </ac:spMkLst>
        </pc:spChg>
        <pc:spChg chg="del">
          <ac:chgData name="Roussel, Gaetan" userId="269e9c6f-a5fe-49a6-9b6b-1c16ee3e16b1" providerId="ADAL" clId="{A43ED10B-C0D7-409E-AD3F-D6A5AE869F78}" dt="2022-06-24T14:05:50.779" v="40" actId="26606"/>
          <ac:spMkLst>
            <pc:docMk/>
            <pc:sldMk cId="3923878654" sldId="259"/>
            <ac:spMk id="4" creationId="{17AB8EBE-B475-4455-9F06-ADF5E89E1050}"/>
          </ac:spMkLst>
        </pc:spChg>
        <pc:spChg chg="add del mod">
          <ac:chgData name="Roussel, Gaetan" userId="269e9c6f-a5fe-49a6-9b6b-1c16ee3e16b1" providerId="ADAL" clId="{A43ED10B-C0D7-409E-AD3F-D6A5AE869F78}" dt="2022-06-24T14:40:40.056" v="131" actId="478"/>
          <ac:spMkLst>
            <pc:docMk/>
            <pc:sldMk cId="3923878654" sldId="259"/>
            <ac:spMk id="6" creationId="{EDFEE00A-F490-4E17-B976-EB5D35EF8F96}"/>
          </ac:spMkLst>
        </pc:spChg>
        <pc:spChg chg="add del mod">
          <ac:chgData name="Roussel, Gaetan" userId="269e9c6f-a5fe-49a6-9b6b-1c16ee3e16b1" providerId="ADAL" clId="{A43ED10B-C0D7-409E-AD3F-D6A5AE869F78}" dt="2022-06-24T14:40:37.824" v="130"/>
          <ac:spMkLst>
            <pc:docMk/>
            <pc:sldMk cId="3923878654" sldId="259"/>
            <ac:spMk id="7" creationId="{89D6363B-A286-4A47-A77C-8ABCE64E0CD2}"/>
          </ac:spMkLst>
        </pc:spChg>
        <pc:spChg chg="add mod">
          <ac:chgData name="Roussel, Gaetan" userId="269e9c6f-a5fe-49a6-9b6b-1c16ee3e16b1" providerId="ADAL" clId="{A43ED10B-C0D7-409E-AD3F-D6A5AE869F78}" dt="2022-06-27T13:22:21.129" v="7466" actId="790"/>
          <ac:spMkLst>
            <pc:docMk/>
            <pc:sldMk cId="3923878654" sldId="259"/>
            <ac:spMk id="8" creationId="{CE74E6A8-701E-4019-A75A-16F2CF58A5E4}"/>
          </ac:spMkLst>
        </pc:spChg>
        <pc:picChg chg="add mod">
          <ac:chgData name="Roussel, Gaetan" userId="269e9c6f-a5fe-49a6-9b6b-1c16ee3e16b1" providerId="ADAL" clId="{A43ED10B-C0D7-409E-AD3F-D6A5AE869F78}" dt="2022-06-24T14:05:50.779" v="40" actId="26606"/>
          <ac:picMkLst>
            <pc:docMk/>
            <pc:sldMk cId="3923878654" sldId="259"/>
            <ac:picMk id="5" creationId="{E6832A83-4EF3-408E-AD56-72B6D8464B95}"/>
          </ac:picMkLst>
        </pc:picChg>
      </pc:sldChg>
      <pc:sldChg chg="addSp delSp modSp new mod ord">
        <pc:chgData name="Roussel, Gaetan" userId="269e9c6f-a5fe-49a6-9b6b-1c16ee3e16b1" providerId="ADAL" clId="{A43ED10B-C0D7-409E-AD3F-D6A5AE869F78}" dt="2022-06-27T13:08:10.286" v="7191" actId="20577"/>
        <pc:sldMkLst>
          <pc:docMk/>
          <pc:sldMk cId="392758111" sldId="260"/>
        </pc:sldMkLst>
        <pc:spChg chg="del">
          <ac:chgData name="Roussel, Gaetan" userId="269e9c6f-a5fe-49a6-9b6b-1c16ee3e16b1" providerId="ADAL" clId="{A43ED10B-C0D7-409E-AD3F-D6A5AE869F78}" dt="2022-06-24T14:06:13.251" v="45" actId="26606"/>
          <ac:spMkLst>
            <pc:docMk/>
            <pc:sldMk cId="392758111" sldId="260"/>
            <ac:spMk id="2" creationId="{28B8F439-D6CE-4512-8DDC-689526181D84}"/>
          </ac:spMkLst>
        </pc:spChg>
        <pc:spChg chg="del">
          <ac:chgData name="Roussel, Gaetan" userId="269e9c6f-a5fe-49a6-9b6b-1c16ee3e16b1" providerId="ADAL" clId="{A43ED10B-C0D7-409E-AD3F-D6A5AE869F78}" dt="2022-06-24T14:06:13.251" v="45" actId="26606"/>
          <ac:spMkLst>
            <pc:docMk/>
            <pc:sldMk cId="392758111" sldId="260"/>
            <ac:spMk id="3" creationId="{68E40383-0259-47B7-AC06-9A8BB2EC51F5}"/>
          </ac:spMkLst>
        </pc:spChg>
        <pc:spChg chg="add mod">
          <ac:chgData name="Roussel, Gaetan" userId="269e9c6f-a5fe-49a6-9b6b-1c16ee3e16b1" providerId="ADAL" clId="{A43ED10B-C0D7-409E-AD3F-D6A5AE869F78}" dt="2022-06-27T13:08:10.286" v="7191" actId="20577"/>
          <ac:spMkLst>
            <pc:docMk/>
            <pc:sldMk cId="392758111" sldId="260"/>
            <ac:spMk id="3" creationId="{828C7B52-E9D1-4A24-B397-C76995C2781F}"/>
          </ac:spMkLst>
        </pc:spChg>
        <pc:spChg chg="del">
          <ac:chgData name="Roussel, Gaetan" userId="269e9c6f-a5fe-49a6-9b6b-1c16ee3e16b1" providerId="ADAL" clId="{A43ED10B-C0D7-409E-AD3F-D6A5AE869F78}" dt="2022-06-24T14:06:13.251" v="45" actId="26606"/>
          <ac:spMkLst>
            <pc:docMk/>
            <pc:sldMk cId="392758111" sldId="260"/>
            <ac:spMk id="4" creationId="{9750A9FD-371D-4A36-8614-60798058E200}"/>
          </ac:spMkLst>
        </pc:spChg>
        <pc:picChg chg="add mod">
          <ac:chgData name="Roussel, Gaetan" userId="269e9c6f-a5fe-49a6-9b6b-1c16ee3e16b1" providerId="ADAL" clId="{A43ED10B-C0D7-409E-AD3F-D6A5AE869F78}" dt="2022-06-24T14:06:13.251" v="45" actId="26606"/>
          <ac:picMkLst>
            <pc:docMk/>
            <pc:sldMk cId="392758111" sldId="260"/>
            <ac:picMk id="5" creationId="{48BB7A15-9137-42B6-966C-4DFCC24514E0}"/>
          </ac:picMkLst>
        </pc:picChg>
      </pc:sldChg>
      <pc:sldChg chg="addSp delSp modSp add del mod ord">
        <pc:chgData name="Roussel, Gaetan" userId="269e9c6f-a5fe-49a6-9b6b-1c16ee3e16b1" providerId="ADAL" clId="{A43ED10B-C0D7-409E-AD3F-D6A5AE869F78}" dt="2022-06-27T12:31:21.422" v="6966" actId="47"/>
        <pc:sldMkLst>
          <pc:docMk/>
          <pc:sldMk cId="131309273" sldId="261"/>
        </pc:sldMkLst>
        <pc:spChg chg="del">
          <ac:chgData name="Roussel, Gaetan" userId="269e9c6f-a5fe-49a6-9b6b-1c16ee3e16b1" providerId="ADAL" clId="{A43ED10B-C0D7-409E-AD3F-D6A5AE869F78}" dt="2022-06-24T14:49:49.536" v="160" actId="478"/>
          <ac:spMkLst>
            <pc:docMk/>
            <pc:sldMk cId="131309273" sldId="261"/>
            <ac:spMk id="3" creationId="{C2DA7C24-C848-413B-84B3-6D78FD4BDCCF}"/>
          </ac:spMkLst>
        </pc:spChg>
        <pc:spChg chg="add mod">
          <ac:chgData name="Roussel, Gaetan" userId="269e9c6f-a5fe-49a6-9b6b-1c16ee3e16b1" providerId="ADAL" clId="{A43ED10B-C0D7-409E-AD3F-D6A5AE869F78}" dt="2022-06-27T07:08:04.414" v="6323" actId="790"/>
          <ac:spMkLst>
            <pc:docMk/>
            <pc:sldMk cId="131309273" sldId="261"/>
            <ac:spMk id="7" creationId="{87C1B23D-898D-47FD-A567-631F616C404B}"/>
          </ac:spMkLst>
        </pc:spChg>
        <pc:spChg chg="add mod">
          <ac:chgData name="Roussel, Gaetan" userId="269e9c6f-a5fe-49a6-9b6b-1c16ee3e16b1" providerId="ADAL" clId="{A43ED10B-C0D7-409E-AD3F-D6A5AE869F78}" dt="2022-06-27T07:08:22.793" v="6324" actId="790"/>
          <ac:spMkLst>
            <pc:docMk/>
            <pc:sldMk cId="131309273" sldId="261"/>
            <ac:spMk id="8" creationId="{82B78E32-C22E-460D-921E-410CCA7E8FB6}"/>
          </ac:spMkLst>
        </pc:spChg>
        <pc:spChg chg="add mod">
          <ac:chgData name="Roussel, Gaetan" userId="269e9c6f-a5fe-49a6-9b6b-1c16ee3e16b1" providerId="ADAL" clId="{A43ED10B-C0D7-409E-AD3F-D6A5AE869F78}" dt="2022-06-24T14:49:50.447" v="161"/>
          <ac:spMkLst>
            <pc:docMk/>
            <pc:sldMk cId="131309273" sldId="261"/>
            <ac:spMk id="9" creationId="{850A87CB-06C2-4865-BF0F-B6A577C24E65}"/>
          </ac:spMkLst>
        </pc:spChg>
        <pc:spChg chg="add mod">
          <ac:chgData name="Roussel, Gaetan" userId="269e9c6f-a5fe-49a6-9b6b-1c16ee3e16b1" providerId="ADAL" clId="{A43ED10B-C0D7-409E-AD3F-D6A5AE869F78}" dt="2022-06-24T14:49:50.447" v="161"/>
          <ac:spMkLst>
            <pc:docMk/>
            <pc:sldMk cId="131309273" sldId="261"/>
            <ac:spMk id="10" creationId="{30369512-E6E8-4060-8A49-9D06731DD51A}"/>
          </ac:spMkLst>
        </pc:spChg>
        <pc:spChg chg="add mod">
          <ac:chgData name="Roussel, Gaetan" userId="269e9c6f-a5fe-49a6-9b6b-1c16ee3e16b1" providerId="ADAL" clId="{A43ED10B-C0D7-409E-AD3F-D6A5AE869F78}" dt="2022-06-24T14:49:50.447" v="161"/>
          <ac:spMkLst>
            <pc:docMk/>
            <pc:sldMk cId="131309273" sldId="261"/>
            <ac:spMk id="11" creationId="{327ECC12-5ABF-487B-99C9-7236DDCBDFEF}"/>
          </ac:spMkLst>
        </pc:spChg>
        <pc:spChg chg="add mod">
          <ac:chgData name="Roussel, Gaetan" userId="269e9c6f-a5fe-49a6-9b6b-1c16ee3e16b1" providerId="ADAL" clId="{A43ED10B-C0D7-409E-AD3F-D6A5AE869F78}" dt="2022-06-24T14:49:50.447" v="161"/>
          <ac:spMkLst>
            <pc:docMk/>
            <pc:sldMk cId="131309273" sldId="261"/>
            <ac:spMk id="12" creationId="{18A2B90A-8825-458C-96E8-D8F99D1AA735}"/>
          </ac:spMkLst>
        </pc:spChg>
        <pc:spChg chg="mod">
          <ac:chgData name="Roussel, Gaetan" userId="269e9c6f-a5fe-49a6-9b6b-1c16ee3e16b1" providerId="ADAL" clId="{A43ED10B-C0D7-409E-AD3F-D6A5AE869F78}" dt="2022-06-24T14:49:50.447" v="161"/>
          <ac:spMkLst>
            <pc:docMk/>
            <pc:sldMk cId="131309273" sldId="261"/>
            <ac:spMk id="14" creationId="{0844B4B4-1D0F-4875-92A8-207B92318B15}"/>
          </ac:spMkLst>
        </pc:spChg>
        <pc:spChg chg="mod">
          <ac:chgData name="Roussel, Gaetan" userId="269e9c6f-a5fe-49a6-9b6b-1c16ee3e16b1" providerId="ADAL" clId="{A43ED10B-C0D7-409E-AD3F-D6A5AE869F78}" dt="2022-06-24T14:49:50.447" v="161"/>
          <ac:spMkLst>
            <pc:docMk/>
            <pc:sldMk cId="131309273" sldId="261"/>
            <ac:spMk id="16" creationId="{508A57A9-A224-49B4-9846-57FC26CCE9D9}"/>
          </ac:spMkLst>
        </pc:spChg>
        <pc:spChg chg="mod">
          <ac:chgData name="Roussel, Gaetan" userId="269e9c6f-a5fe-49a6-9b6b-1c16ee3e16b1" providerId="ADAL" clId="{A43ED10B-C0D7-409E-AD3F-D6A5AE869F78}" dt="2022-06-24T14:49:50.447" v="161"/>
          <ac:spMkLst>
            <pc:docMk/>
            <pc:sldMk cId="131309273" sldId="261"/>
            <ac:spMk id="17" creationId="{5C52997C-A5E1-4CF7-BA5D-E4E36F660B6E}"/>
          </ac:spMkLst>
        </pc:spChg>
        <pc:spChg chg="mod">
          <ac:chgData name="Roussel, Gaetan" userId="269e9c6f-a5fe-49a6-9b6b-1c16ee3e16b1" providerId="ADAL" clId="{A43ED10B-C0D7-409E-AD3F-D6A5AE869F78}" dt="2022-06-24T14:49:50.447" v="161"/>
          <ac:spMkLst>
            <pc:docMk/>
            <pc:sldMk cId="131309273" sldId="261"/>
            <ac:spMk id="19" creationId="{BE0C7FFC-17A1-4C69-A751-34F3B12CA72E}"/>
          </ac:spMkLst>
        </pc:spChg>
        <pc:spChg chg="mod">
          <ac:chgData name="Roussel, Gaetan" userId="269e9c6f-a5fe-49a6-9b6b-1c16ee3e16b1" providerId="ADAL" clId="{A43ED10B-C0D7-409E-AD3F-D6A5AE869F78}" dt="2022-06-24T14:49:50.447" v="161"/>
          <ac:spMkLst>
            <pc:docMk/>
            <pc:sldMk cId="131309273" sldId="261"/>
            <ac:spMk id="21" creationId="{DBB655EF-587A-41E3-96E5-4895424D656E}"/>
          </ac:spMkLst>
        </pc:spChg>
        <pc:spChg chg="mod">
          <ac:chgData name="Roussel, Gaetan" userId="269e9c6f-a5fe-49a6-9b6b-1c16ee3e16b1" providerId="ADAL" clId="{A43ED10B-C0D7-409E-AD3F-D6A5AE869F78}" dt="2022-06-24T14:49:50.447" v="161"/>
          <ac:spMkLst>
            <pc:docMk/>
            <pc:sldMk cId="131309273" sldId="261"/>
            <ac:spMk id="22" creationId="{DF6C68B9-E1F9-40FD-BCA9-1A32E96E86B6}"/>
          </ac:spMkLst>
        </pc:spChg>
        <pc:spChg chg="mod">
          <ac:chgData name="Roussel, Gaetan" userId="269e9c6f-a5fe-49a6-9b6b-1c16ee3e16b1" providerId="ADAL" clId="{A43ED10B-C0D7-409E-AD3F-D6A5AE869F78}" dt="2022-06-24T14:49:50.447" v="161"/>
          <ac:spMkLst>
            <pc:docMk/>
            <pc:sldMk cId="131309273" sldId="261"/>
            <ac:spMk id="24" creationId="{6C1826E3-F24E-4114-BDD6-A639CCEDF4B1}"/>
          </ac:spMkLst>
        </pc:spChg>
        <pc:spChg chg="mod">
          <ac:chgData name="Roussel, Gaetan" userId="269e9c6f-a5fe-49a6-9b6b-1c16ee3e16b1" providerId="ADAL" clId="{A43ED10B-C0D7-409E-AD3F-D6A5AE869F78}" dt="2022-06-24T14:49:50.447" v="161"/>
          <ac:spMkLst>
            <pc:docMk/>
            <pc:sldMk cId="131309273" sldId="261"/>
            <ac:spMk id="26" creationId="{886045F5-8174-4521-A398-5AF0BF130177}"/>
          </ac:spMkLst>
        </pc:spChg>
        <pc:spChg chg="mod">
          <ac:chgData name="Roussel, Gaetan" userId="269e9c6f-a5fe-49a6-9b6b-1c16ee3e16b1" providerId="ADAL" clId="{A43ED10B-C0D7-409E-AD3F-D6A5AE869F78}" dt="2022-06-24T14:49:50.447" v="161"/>
          <ac:spMkLst>
            <pc:docMk/>
            <pc:sldMk cId="131309273" sldId="261"/>
            <ac:spMk id="27" creationId="{F0FD6EC0-041D-48B0-8DE3-DCDB52089ECB}"/>
          </ac:spMkLst>
        </pc:spChg>
        <pc:spChg chg="add mod">
          <ac:chgData name="Roussel, Gaetan" userId="269e9c6f-a5fe-49a6-9b6b-1c16ee3e16b1" providerId="ADAL" clId="{A43ED10B-C0D7-409E-AD3F-D6A5AE869F78}" dt="2022-06-24T14:49:50.447" v="161"/>
          <ac:spMkLst>
            <pc:docMk/>
            <pc:sldMk cId="131309273" sldId="261"/>
            <ac:spMk id="28" creationId="{45F277DA-7DF1-4D9D-B9AD-F644FD909CED}"/>
          </ac:spMkLst>
        </pc:spChg>
        <pc:spChg chg="add mod">
          <ac:chgData name="Roussel, Gaetan" userId="269e9c6f-a5fe-49a6-9b6b-1c16ee3e16b1" providerId="ADAL" clId="{A43ED10B-C0D7-409E-AD3F-D6A5AE869F78}" dt="2022-06-24T14:49:50.447" v="161"/>
          <ac:spMkLst>
            <pc:docMk/>
            <pc:sldMk cId="131309273" sldId="261"/>
            <ac:spMk id="30" creationId="{CD2DD49F-8C3F-4703-9B92-7094E63A83A0}"/>
          </ac:spMkLst>
        </pc:spChg>
        <pc:spChg chg="mod">
          <ac:chgData name="Roussel, Gaetan" userId="269e9c6f-a5fe-49a6-9b6b-1c16ee3e16b1" providerId="ADAL" clId="{A43ED10B-C0D7-409E-AD3F-D6A5AE869F78}" dt="2022-06-24T14:49:50.447" v="161"/>
          <ac:spMkLst>
            <pc:docMk/>
            <pc:sldMk cId="131309273" sldId="261"/>
            <ac:spMk id="32" creationId="{E01B532A-5A22-45B1-83A7-F07028CA3D5D}"/>
          </ac:spMkLst>
        </pc:spChg>
        <pc:spChg chg="mod">
          <ac:chgData name="Roussel, Gaetan" userId="269e9c6f-a5fe-49a6-9b6b-1c16ee3e16b1" providerId="ADAL" clId="{A43ED10B-C0D7-409E-AD3F-D6A5AE869F78}" dt="2022-06-24T14:49:50.447" v="161"/>
          <ac:spMkLst>
            <pc:docMk/>
            <pc:sldMk cId="131309273" sldId="261"/>
            <ac:spMk id="33" creationId="{263CE558-7CF6-4995-92EB-E6B80D9030D6}"/>
          </ac:spMkLst>
        </pc:spChg>
        <pc:spChg chg="mod">
          <ac:chgData name="Roussel, Gaetan" userId="269e9c6f-a5fe-49a6-9b6b-1c16ee3e16b1" providerId="ADAL" clId="{A43ED10B-C0D7-409E-AD3F-D6A5AE869F78}" dt="2022-06-24T14:49:50.447" v="161"/>
          <ac:spMkLst>
            <pc:docMk/>
            <pc:sldMk cId="131309273" sldId="261"/>
            <ac:spMk id="34" creationId="{F8A59318-8199-44CD-9F77-89FC4376EEBD}"/>
          </ac:spMkLst>
        </pc:spChg>
        <pc:spChg chg="mod">
          <ac:chgData name="Roussel, Gaetan" userId="269e9c6f-a5fe-49a6-9b6b-1c16ee3e16b1" providerId="ADAL" clId="{A43ED10B-C0D7-409E-AD3F-D6A5AE869F78}" dt="2022-06-24T14:49:50.447" v="161"/>
          <ac:spMkLst>
            <pc:docMk/>
            <pc:sldMk cId="131309273" sldId="261"/>
            <ac:spMk id="35" creationId="{3AF7CD57-58A9-4B68-904A-5578EB78B474}"/>
          </ac:spMkLst>
        </pc:spChg>
        <pc:spChg chg="mod">
          <ac:chgData name="Roussel, Gaetan" userId="269e9c6f-a5fe-49a6-9b6b-1c16ee3e16b1" providerId="ADAL" clId="{A43ED10B-C0D7-409E-AD3F-D6A5AE869F78}" dt="2022-06-24T14:49:50.447" v="161"/>
          <ac:spMkLst>
            <pc:docMk/>
            <pc:sldMk cId="131309273" sldId="261"/>
            <ac:spMk id="36" creationId="{F5A55F7B-487C-4367-9730-5ADF9688DF53}"/>
          </ac:spMkLst>
        </pc:spChg>
        <pc:spChg chg="mod">
          <ac:chgData name="Roussel, Gaetan" userId="269e9c6f-a5fe-49a6-9b6b-1c16ee3e16b1" providerId="ADAL" clId="{A43ED10B-C0D7-409E-AD3F-D6A5AE869F78}" dt="2022-06-24T14:49:50.447" v="161"/>
          <ac:spMkLst>
            <pc:docMk/>
            <pc:sldMk cId="131309273" sldId="261"/>
            <ac:spMk id="37" creationId="{E44E778C-146F-455E-B06E-2C0491D15855}"/>
          </ac:spMkLst>
        </pc:spChg>
        <pc:spChg chg="mod">
          <ac:chgData name="Roussel, Gaetan" userId="269e9c6f-a5fe-49a6-9b6b-1c16ee3e16b1" providerId="ADAL" clId="{A43ED10B-C0D7-409E-AD3F-D6A5AE869F78}" dt="2022-06-24T14:49:50.447" v="161"/>
          <ac:spMkLst>
            <pc:docMk/>
            <pc:sldMk cId="131309273" sldId="261"/>
            <ac:spMk id="39" creationId="{907E7470-234A-4760-B066-7768FA28C52E}"/>
          </ac:spMkLst>
        </pc:spChg>
        <pc:spChg chg="mod">
          <ac:chgData name="Roussel, Gaetan" userId="269e9c6f-a5fe-49a6-9b6b-1c16ee3e16b1" providerId="ADAL" clId="{A43ED10B-C0D7-409E-AD3F-D6A5AE869F78}" dt="2022-06-24T14:49:50.447" v="161"/>
          <ac:spMkLst>
            <pc:docMk/>
            <pc:sldMk cId="131309273" sldId="261"/>
            <ac:spMk id="40" creationId="{3FCF19C9-7B1D-4F7D-9A3A-44056B919FB5}"/>
          </ac:spMkLst>
        </pc:spChg>
        <pc:spChg chg="mod">
          <ac:chgData name="Roussel, Gaetan" userId="269e9c6f-a5fe-49a6-9b6b-1c16ee3e16b1" providerId="ADAL" clId="{A43ED10B-C0D7-409E-AD3F-D6A5AE869F78}" dt="2022-06-24T14:49:50.447" v="161"/>
          <ac:spMkLst>
            <pc:docMk/>
            <pc:sldMk cId="131309273" sldId="261"/>
            <ac:spMk id="41" creationId="{70BFBDAE-293D-4180-AD3B-E157EEE5B9F5}"/>
          </ac:spMkLst>
        </pc:spChg>
        <pc:spChg chg="mod">
          <ac:chgData name="Roussel, Gaetan" userId="269e9c6f-a5fe-49a6-9b6b-1c16ee3e16b1" providerId="ADAL" clId="{A43ED10B-C0D7-409E-AD3F-D6A5AE869F78}" dt="2022-06-24T14:49:50.447" v="161"/>
          <ac:spMkLst>
            <pc:docMk/>
            <pc:sldMk cId="131309273" sldId="261"/>
            <ac:spMk id="42" creationId="{D0FDAB8E-D614-479C-8109-C31B175F6182}"/>
          </ac:spMkLst>
        </pc:spChg>
        <pc:spChg chg="mod">
          <ac:chgData name="Roussel, Gaetan" userId="269e9c6f-a5fe-49a6-9b6b-1c16ee3e16b1" providerId="ADAL" clId="{A43ED10B-C0D7-409E-AD3F-D6A5AE869F78}" dt="2022-06-24T14:49:50.447" v="161"/>
          <ac:spMkLst>
            <pc:docMk/>
            <pc:sldMk cId="131309273" sldId="261"/>
            <ac:spMk id="43" creationId="{DB3DBEE7-B337-44EE-BF79-B759D7095A7F}"/>
          </ac:spMkLst>
        </pc:spChg>
        <pc:spChg chg="mod">
          <ac:chgData name="Roussel, Gaetan" userId="269e9c6f-a5fe-49a6-9b6b-1c16ee3e16b1" providerId="ADAL" clId="{A43ED10B-C0D7-409E-AD3F-D6A5AE869F78}" dt="2022-06-24T14:49:50.447" v="161"/>
          <ac:spMkLst>
            <pc:docMk/>
            <pc:sldMk cId="131309273" sldId="261"/>
            <ac:spMk id="44" creationId="{9511DF01-717D-49A2-8F54-BD55A0AF66FE}"/>
          </ac:spMkLst>
        </pc:spChg>
        <pc:spChg chg="mod">
          <ac:chgData name="Roussel, Gaetan" userId="269e9c6f-a5fe-49a6-9b6b-1c16ee3e16b1" providerId="ADAL" clId="{A43ED10B-C0D7-409E-AD3F-D6A5AE869F78}" dt="2022-06-24T14:49:50.447" v="161"/>
          <ac:spMkLst>
            <pc:docMk/>
            <pc:sldMk cId="131309273" sldId="261"/>
            <ac:spMk id="45" creationId="{64EC2F9E-4C39-40DD-957B-DEE97995DCF3}"/>
          </ac:spMkLst>
        </pc:spChg>
        <pc:spChg chg="add del mod">
          <ac:chgData name="Roussel, Gaetan" userId="269e9c6f-a5fe-49a6-9b6b-1c16ee3e16b1" providerId="ADAL" clId="{A43ED10B-C0D7-409E-AD3F-D6A5AE869F78}" dt="2022-06-24T15:16:35.574" v="165" actId="478"/>
          <ac:spMkLst>
            <pc:docMk/>
            <pc:sldMk cId="131309273" sldId="261"/>
            <ac:spMk id="46" creationId="{62645D06-FA3F-4960-91E8-F3E1698AC874}"/>
          </ac:spMkLst>
        </pc:spChg>
        <pc:spChg chg="mod">
          <ac:chgData name="Roussel, Gaetan" userId="269e9c6f-a5fe-49a6-9b6b-1c16ee3e16b1" providerId="ADAL" clId="{A43ED10B-C0D7-409E-AD3F-D6A5AE869F78}" dt="2022-06-24T15:32:52.669" v="408"/>
          <ac:spMkLst>
            <pc:docMk/>
            <pc:sldMk cId="131309273" sldId="261"/>
            <ac:spMk id="48" creationId="{6176C53C-8D0A-459B-B36A-455479DEBE81}"/>
          </ac:spMkLst>
        </pc:spChg>
        <pc:spChg chg="add mod">
          <ac:chgData name="Roussel, Gaetan" userId="269e9c6f-a5fe-49a6-9b6b-1c16ee3e16b1" providerId="ADAL" clId="{A43ED10B-C0D7-409E-AD3F-D6A5AE869F78}" dt="2022-06-24T15:32:52.669" v="408"/>
          <ac:spMkLst>
            <pc:docMk/>
            <pc:sldMk cId="131309273" sldId="261"/>
            <ac:spMk id="51" creationId="{B9B2371E-D4F4-4BE6-BA1C-D3BB08276168}"/>
          </ac:spMkLst>
        </pc:spChg>
        <pc:grpChg chg="add mod">
          <ac:chgData name="Roussel, Gaetan" userId="269e9c6f-a5fe-49a6-9b6b-1c16ee3e16b1" providerId="ADAL" clId="{A43ED10B-C0D7-409E-AD3F-D6A5AE869F78}" dt="2022-06-24T14:49:50.447" v="161"/>
          <ac:grpSpMkLst>
            <pc:docMk/>
            <pc:sldMk cId="131309273" sldId="261"/>
            <ac:grpSpMk id="13" creationId="{455457F9-9CB9-4AB5-8CAB-2DD15E985888}"/>
          </ac:grpSpMkLst>
        </pc:grpChg>
        <pc:grpChg chg="mod">
          <ac:chgData name="Roussel, Gaetan" userId="269e9c6f-a5fe-49a6-9b6b-1c16ee3e16b1" providerId="ADAL" clId="{A43ED10B-C0D7-409E-AD3F-D6A5AE869F78}" dt="2022-06-24T14:49:50.447" v="161"/>
          <ac:grpSpMkLst>
            <pc:docMk/>
            <pc:sldMk cId="131309273" sldId="261"/>
            <ac:grpSpMk id="15" creationId="{7823BDC2-B838-4217-9CFC-8771DB698EA3}"/>
          </ac:grpSpMkLst>
        </pc:grpChg>
        <pc:grpChg chg="add mod">
          <ac:chgData name="Roussel, Gaetan" userId="269e9c6f-a5fe-49a6-9b6b-1c16ee3e16b1" providerId="ADAL" clId="{A43ED10B-C0D7-409E-AD3F-D6A5AE869F78}" dt="2022-06-24T14:49:50.447" v="161"/>
          <ac:grpSpMkLst>
            <pc:docMk/>
            <pc:sldMk cId="131309273" sldId="261"/>
            <ac:grpSpMk id="18" creationId="{7A8FAA51-AD49-44D6-8D5E-19046B347025}"/>
          </ac:grpSpMkLst>
        </pc:grpChg>
        <pc:grpChg chg="mod">
          <ac:chgData name="Roussel, Gaetan" userId="269e9c6f-a5fe-49a6-9b6b-1c16ee3e16b1" providerId="ADAL" clId="{A43ED10B-C0D7-409E-AD3F-D6A5AE869F78}" dt="2022-06-24T14:49:50.447" v="161"/>
          <ac:grpSpMkLst>
            <pc:docMk/>
            <pc:sldMk cId="131309273" sldId="261"/>
            <ac:grpSpMk id="20" creationId="{751FD0F0-C71F-4051-BB96-E83F800887C6}"/>
          </ac:grpSpMkLst>
        </pc:grpChg>
        <pc:grpChg chg="add mod">
          <ac:chgData name="Roussel, Gaetan" userId="269e9c6f-a5fe-49a6-9b6b-1c16ee3e16b1" providerId="ADAL" clId="{A43ED10B-C0D7-409E-AD3F-D6A5AE869F78}" dt="2022-06-24T14:49:50.447" v="161"/>
          <ac:grpSpMkLst>
            <pc:docMk/>
            <pc:sldMk cId="131309273" sldId="261"/>
            <ac:grpSpMk id="23" creationId="{41867CD0-CB89-428F-A675-E20EE859F0A6}"/>
          </ac:grpSpMkLst>
        </pc:grpChg>
        <pc:grpChg chg="mod">
          <ac:chgData name="Roussel, Gaetan" userId="269e9c6f-a5fe-49a6-9b6b-1c16ee3e16b1" providerId="ADAL" clId="{A43ED10B-C0D7-409E-AD3F-D6A5AE869F78}" dt="2022-06-24T14:49:50.447" v="161"/>
          <ac:grpSpMkLst>
            <pc:docMk/>
            <pc:sldMk cId="131309273" sldId="261"/>
            <ac:grpSpMk id="25" creationId="{E6864816-E854-4563-988D-0CF0C820256D}"/>
          </ac:grpSpMkLst>
        </pc:grpChg>
        <pc:grpChg chg="add mod">
          <ac:chgData name="Roussel, Gaetan" userId="269e9c6f-a5fe-49a6-9b6b-1c16ee3e16b1" providerId="ADAL" clId="{A43ED10B-C0D7-409E-AD3F-D6A5AE869F78}" dt="2022-06-24T14:49:50.447" v="161"/>
          <ac:grpSpMkLst>
            <pc:docMk/>
            <pc:sldMk cId="131309273" sldId="261"/>
            <ac:grpSpMk id="31" creationId="{A3A20637-3EED-497D-BD4A-1A4E970D4110}"/>
          </ac:grpSpMkLst>
        </pc:grpChg>
        <pc:grpChg chg="add mod">
          <ac:chgData name="Roussel, Gaetan" userId="269e9c6f-a5fe-49a6-9b6b-1c16ee3e16b1" providerId="ADAL" clId="{A43ED10B-C0D7-409E-AD3F-D6A5AE869F78}" dt="2022-06-24T14:49:50.447" v="161"/>
          <ac:grpSpMkLst>
            <pc:docMk/>
            <pc:sldMk cId="131309273" sldId="261"/>
            <ac:grpSpMk id="38" creationId="{47BE220B-35EF-4271-AEEB-638A65B4A78A}"/>
          </ac:grpSpMkLst>
        </pc:grpChg>
        <pc:grpChg chg="add mod">
          <ac:chgData name="Roussel, Gaetan" userId="269e9c6f-a5fe-49a6-9b6b-1c16ee3e16b1" providerId="ADAL" clId="{A43ED10B-C0D7-409E-AD3F-D6A5AE869F78}" dt="2022-06-24T15:32:52.669" v="408"/>
          <ac:grpSpMkLst>
            <pc:docMk/>
            <pc:sldMk cId="131309273" sldId="261"/>
            <ac:grpSpMk id="47" creationId="{69BAF6E0-8D07-4BC0-BEFE-908CFAE64983}"/>
          </ac:grpSpMkLst>
        </pc:grpChg>
        <pc:picChg chg="add del mod">
          <ac:chgData name="Roussel, Gaetan" userId="269e9c6f-a5fe-49a6-9b6b-1c16ee3e16b1" providerId="ADAL" clId="{A43ED10B-C0D7-409E-AD3F-D6A5AE869F78}" dt="2022-06-24T14:06:24.513" v="50"/>
          <ac:picMkLst>
            <pc:docMk/>
            <pc:sldMk cId="131309273" sldId="261"/>
            <ac:picMk id="4" creationId="{D15D1A6A-D1C1-408E-BDBA-1841968DD8A4}"/>
          </ac:picMkLst>
        </pc:picChg>
        <pc:picChg chg="add del mod">
          <ac:chgData name="Roussel, Gaetan" userId="269e9c6f-a5fe-49a6-9b6b-1c16ee3e16b1" providerId="ADAL" clId="{A43ED10B-C0D7-409E-AD3F-D6A5AE869F78}" dt="2022-06-24T14:06:28.920" v="52"/>
          <ac:picMkLst>
            <pc:docMk/>
            <pc:sldMk cId="131309273" sldId="261"/>
            <ac:picMk id="5" creationId="{124E62C5-9FE8-4F65-A4BB-7B689C125B89}"/>
          </ac:picMkLst>
        </pc:picChg>
        <pc:picChg chg="add mod">
          <ac:chgData name="Roussel, Gaetan" userId="269e9c6f-a5fe-49a6-9b6b-1c16ee3e16b1" providerId="ADAL" clId="{A43ED10B-C0D7-409E-AD3F-D6A5AE869F78}" dt="2022-06-24T14:49:50.447" v="161"/>
          <ac:picMkLst>
            <pc:docMk/>
            <pc:sldMk cId="131309273" sldId="261"/>
            <ac:picMk id="6" creationId="{FFB3ADB0-1A72-4F30-97B5-CE96A7F8C642}"/>
          </ac:picMkLst>
        </pc:picChg>
        <pc:picChg chg="mod">
          <ac:chgData name="Roussel, Gaetan" userId="269e9c6f-a5fe-49a6-9b6b-1c16ee3e16b1" providerId="ADAL" clId="{A43ED10B-C0D7-409E-AD3F-D6A5AE869F78}" dt="2022-06-24T15:32:52.669" v="408"/>
          <ac:picMkLst>
            <pc:docMk/>
            <pc:sldMk cId="131309273" sldId="261"/>
            <ac:picMk id="49" creationId="{86855F0B-E1FF-45A9-960A-2F56C02DACBE}"/>
          </ac:picMkLst>
        </pc:picChg>
        <pc:picChg chg="mod">
          <ac:chgData name="Roussel, Gaetan" userId="269e9c6f-a5fe-49a6-9b6b-1c16ee3e16b1" providerId="ADAL" clId="{A43ED10B-C0D7-409E-AD3F-D6A5AE869F78}" dt="2022-06-24T15:32:52.669" v="408"/>
          <ac:picMkLst>
            <pc:docMk/>
            <pc:sldMk cId="131309273" sldId="261"/>
            <ac:picMk id="50" creationId="{FA4E295E-D170-4723-B00F-FCC80271958F}"/>
          </ac:picMkLst>
        </pc:picChg>
        <pc:cxnChg chg="add mod">
          <ac:chgData name="Roussel, Gaetan" userId="269e9c6f-a5fe-49a6-9b6b-1c16ee3e16b1" providerId="ADAL" clId="{A43ED10B-C0D7-409E-AD3F-D6A5AE869F78}" dt="2022-06-24T14:49:50.447" v="161"/>
          <ac:cxnSpMkLst>
            <pc:docMk/>
            <pc:sldMk cId="131309273" sldId="261"/>
            <ac:cxnSpMk id="29" creationId="{B9968DC0-1ABA-41CA-8924-F7E3E83D47BF}"/>
          </ac:cxnSpMkLst>
        </pc:cxnChg>
      </pc:sldChg>
      <pc:sldChg chg="addSp delSp modSp add mod ord modTransition modClrScheme chgLayout">
        <pc:chgData name="Roussel, Gaetan" userId="269e9c6f-a5fe-49a6-9b6b-1c16ee3e16b1" providerId="ADAL" clId="{A43ED10B-C0D7-409E-AD3F-D6A5AE869F78}" dt="2022-06-27T13:08:03.746" v="7186" actId="20577"/>
        <pc:sldMkLst>
          <pc:docMk/>
          <pc:sldMk cId="4165130334" sldId="262"/>
        </pc:sldMkLst>
        <pc:spChg chg="del">
          <ac:chgData name="Roussel, Gaetan" userId="269e9c6f-a5fe-49a6-9b6b-1c16ee3e16b1" providerId="ADAL" clId="{A43ED10B-C0D7-409E-AD3F-D6A5AE869F78}" dt="2022-06-24T14:06:50.324" v="57" actId="26606"/>
          <ac:spMkLst>
            <pc:docMk/>
            <pc:sldMk cId="4165130334" sldId="262"/>
            <ac:spMk id="2" creationId="{CB5A1A39-FEA5-45F0-8A95-1A2DE8823E7B}"/>
          </ac:spMkLst>
        </pc:spChg>
        <pc:spChg chg="add mod">
          <ac:chgData name="Roussel, Gaetan" userId="269e9c6f-a5fe-49a6-9b6b-1c16ee3e16b1" providerId="ADAL" clId="{A43ED10B-C0D7-409E-AD3F-D6A5AE869F78}" dt="2022-06-27T13:08:03.746" v="7186" actId="20577"/>
          <ac:spMkLst>
            <pc:docMk/>
            <pc:sldMk cId="4165130334" sldId="262"/>
            <ac:spMk id="3" creationId="{AB71458B-AC4E-4EE7-9524-19F01E55AEEC}"/>
          </ac:spMkLst>
        </pc:spChg>
        <pc:spChg chg="del">
          <ac:chgData name="Roussel, Gaetan" userId="269e9c6f-a5fe-49a6-9b6b-1c16ee3e16b1" providerId="ADAL" clId="{A43ED10B-C0D7-409E-AD3F-D6A5AE869F78}" dt="2022-06-24T14:06:50.324" v="57" actId="26606"/>
          <ac:spMkLst>
            <pc:docMk/>
            <pc:sldMk cId="4165130334" sldId="262"/>
            <ac:spMk id="3" creationId="{C2DA7C24-C848-413B-84B3-6D78FD4BDCCF}"/>
          </ac:spMkLst>
        </pc:spChg>
        <pc:picChg chg="add mod">
          <ac:chgData name="Roussel, Gaetan" userId="269e9c6f-a5fe-49a6-9b6b-1c16ee3e16b1" providerId="ADAL" clId="{A43ED10B-C0D7-409E-AD3F-D6A5AE869F78}" dt="2022-06-24T14:06:50.324" v="57" actId="26606"/>
          <ac:picMkLst>
            <pc:docMk/>
            <pc:sldMk cId="4165130334" sldId="262"/>
            <ac:picMk id="4" creationId="{D5F1F541-4BD3-4697-8148-3AA629B6F5FE}"/>
          </ac:picMkLst>
        </pc:picChg>
      </pc:sldChg>
      <pc:sldChg chg="addSp modSp add mod ord">
        <pc:chgData name="Roussel, Gaetan" userId="269e9c6f-a5fe-49a6-9b6b-1c16ee3e16b1" providerId="ADAL" clId="{A43ED10B-C0D7-409E-AD3F-D6A5AE869F78}" dt="2022-06-27T13:16:01.956" v="7414" actId="20578"/>
        <pc:sldMkLst>
          <pc:docMk/>
          <pc:sldMk cId="4028641910" sldId="263"/>
        </pc:sldMkLst>
        <pc:spChg chg="add mod">
          <ac:chgData name="Roussel, Gaetan" userId="269e9c6f-a5fe-49a6-9b6b-1c16ee3e16b1" providerId="ADAL" clId="{A43ED10B-C0D7-409E-AD3F-D6A5AE869F78}" dt="2022-06-27T13:07:30.548" v="7178" actId="20577"/>
          <ac:spMkLst>
            <pc:docMk/>
            <pc:sldMk cId="4028641910" sldId="263"/>
            <ac:spMk id="5" creationId="{55DD3A52-1B6F-462E-A38F-38D86461F593}"/>
          </ac:spMkLst>
        </pc:spChg>
        <pc:picChg chg="add mod">
          <ac:chgData name="Roussel, Gaetan" userId="269e9c6f-a5fe-49a6-9b6b-1c16ee3e16b1" providerId="ADAL" clId="{A43ED10B-C0D7-409E-AD3F-D6A5AE869F78}" dt="2022-06-24T14:08:38.097" v="68"/>
          <ac:picMkLst>
            <pc:docMk/>
            <pc:sldMk cId="4028641910" sldId="263"/>
            <ac:picMk id="4" creationId="{77ECCAA7-6771-4715-89A2-2FE6DFA5ACBA}"/>
          </ac:picMkLst>
        </pc:picChg>
      </pc:sldChg>
      <pc:sldChg chg="addSp modSp add del ord">
        <pc:chgData name="Roussel, Gaetan" userId="269e9c6f-a5fe-49a6-9b6b-1c16ee3e16b1" providerId="ADAL" clId="{A43ED10B-C0D7-409E-AD3F-D6A5AE869F78}" dt="2022-06-24T14:08:22.830" v="67" actId="47"/>
        <pc:sldMkLst>
          <pc:docMk/>
          <pc:sldMk cId="1991316336" sldId="264"/>
        </pc:sldMkLst>
        <pc:picChg chg="add mod">
          <ac:chgData name="Roussel, Gaetan" userId="269e9c6f-a5fe-49a6-9b6b-1c16ee3e16b1" providerId="ADAL" clId="{A43ED10B-C0D7-409E-AD3F-D6A5AE869F78}" dt="2022-06-24T14:08:16.888" v="66"/>
          <ac:picMkLst>
            <pc:docMk/>
            <pc:sldMk cId="1991316336" sldId="264"/>
            <ac:picMk id="4" creationId="{7907A76A-DDCE-4717-BA38-6C54CD3AC004}"/>
          </ac:picMkLst>
        </pc:picChg>
      </pc:sldChg>
      <pc:sldChg chg="addSp delSp modSp add mod ord modNotesTx">
        <pc:chgData name="Roussel, Gaetan" userId="269e9c6f-a5fe-49a6-9b6b-1c16ee3e16b1" providerId="ADAL" clId="{A43ED10B-C0D7-409E-AD3F-D6A5AE869F78}" dt="2022-06-30T08:45:23.275" v="11507" actId="20577"/>
        <pc:sldMkLst>
          <pc:docMk/>
          <pc:sldMk cId="2041571504" sldId="264"/>
        </pc:sldMkLst>
        <pc:spChg chg="del">
          <ac:chgData name="Roussel, Gaetan" userId="269e9c6f-a5fe-49a6-9b6b-1c16ee3e16b1" providerId="ADAL" clId="{A43ED10B-C0D7-409E-AD3F-D6A5AE869F78}" dt="2022-06-25T13:35:42.773" v="1276" actId="478"/>
          <ac:spMkLst>
            <pc:docMk/>
            <pc:sldMk cId="2041571504" sldId="264"/>
            <ac:spMk id="2" creationId="{CB5A1A39-FEA5-45F0-8A95-1A2DE8823E7B}"/>
          </ac:spMkLst>
        </pc:spChg>
        <pc:spChg chg="del">
          <ac:chgData name="Roussel, Gaetan" userId="269e9c6f-a5fe-49a6-9b6b-1c16ee3e16b1" providerId="ADAL" clId="{A43ED10B-C0D7-409E-AD3F-D6A5AE869F78}" dt="2022-06-24T15:32:21.455" v="406" actId="478"/>
          <ac:spMkLst>
            <pc:docMk/>
            <pc:sldMk cId="2041571504" sldId="264"/>
            <ac:spMk id="3" creationId="{C2DA7C24-C848-413B-84B3-6D78FD4BDCCF}"/>
          </ac:spMkLst>
        </pc:spChg>
        <pc:spChg chg="mod topLvl">
          <ac:chgData name="Roussel, Gaetan" userId="269e9c6f-a5fe-49a6-9b6b-1c16ee3e16b1" providerId="ADAL" clId="{A43ED10B-C0D7-409E-AD3F-D6A5AE869F78}" dt="2022-06-28T18:33:55.787" v="9750" actId="1035"/>
          <ac:spMkLst>
            <pc:docMk/>
            <pc:sldMk cId="2041571504" sldId="264"/>
            <ac:spMk id="5" creationId="{34308BEC-2D70-401E-B3C2-3B568D128076}"/>
          </ac:spMkLst>
        </pc:spChg>
        <pc:spChg chg="mod topLvl">
          <ac:chgData name="Roussel, Gaetan" userId="269e9c6f-a5fe-49a6-9b6b-1c16ee3e16b1" providerId="ADAL" clId="{A43ED10B-C0D7-409E-AD3F-D6A5AE869F78}" dt="2022-06-28T18:33:55.787" v="9750" actId="1035"/>
          <ac:spMkLst>
            <pc:docMk/>
            <pc:sldMk cId="2041571504" sldId="264"/>
            <ac:spMk id="7" creationId="{E39F3355-B251-4B1A-A174-4E43AE45006A}"/>
          </ac:spMkLst>
        </pc:spChg>
        <pc:spChg chg="mod topLvl">
          <ac:chgData name="Roussel, Gaetan" userId="269e9c6f-a5fe-49a6-9b6b-1c16ee3e16b1" providerId="ADAL" clId="{A43ED10B-C0D7-409E-AD3F-D6A5AE869F78}" dt="2022-06-28T18:33:55.787" v="9750" actId="1035"/>
          <ac:spMkLst>
            <pc:docMk/>
            <pc:sldMk cId="2041571504" sldId="264"/>
            <ac:spMk id="8" creationId="{A523EAC3-9AA1-4DCC-B375-9A97D122C9A1}"/>
          </ac:spMkLst>
        </pc:spChg>
        <pc:spChg chg="mod topLvl">
          <ac:chgData name="Roussel, Gaetan" userId="269e9c6f-a5fe-49a6-9b6b-1c16ee3e16b1" providerId="ADAL" clId="{A43ED10B-C0D7-409E-AD3F-D6A5AE869F78}" dt="2022-06-28T18:33:55.787" v="9750" actId="1035"/>
          <ac:spMkLst>
            <pc:docMk/>
            <pc:sldMk cId="2041571504" sldId="264"/>
            <ac:spMk id="9" creationId="{3BA653B1-1013-484F-B088-4868A5F60546}"/>
          </ac:spMkLst>
        </pc:spChg>
        <pc:spChg chg="mod">
          <ac:chgData name="Roussel, Gaetan" userId="269e9c6f-a5fe-49a6-9b6b-1c16ee3e16b1" providerId="ADAL" clId="{A43ED10B-C0D7-409E-AD3F-D6A5AE869F78}" dt="2022-06-25T13:15:16.850" v="473" actId="165"/>
          <ac:spMkLst>
            <pc:docMk/>
            <pc:sldMk cId="2041571504" sldId="264"/>
            <ac:spMk id="10" creationId="{6C24C08C-8385-4747-894E-97152F116529}"/>
          </ac:spMkLst>
        </pc:spChg>
        <pc:spChg chg="mod">
          <ac:chgData name="Roussel, Gaetan" userId="269e9c6f-a5fe-49a6-9b6b-1c16ee3e16b1" providerId="ADAL" clId="{A43ED10B-C0D7-409E-AD3F-D6A5AE869F78}" dt="2022-06-25T13:15:16.850" v="473" actId="165"/>
          <ac:spMkLst>
            <pc:docMk/>
            <pc:sldMk cId="2041571504" sldId="264"/>
            <ac:spMk id="11" creationId="{B0A5D4FC-299B-47F5-A26E-BAF5EEC46F55}"/>
          </ac:spMkLst>
        </pc:spChg>
        <pc:spChg chg="mod topLvl">
          <ac:chgData name="Roussel, Gaetan" userId="269e9c6f-a5fe-49a6-9b6b-1c16ee3e16b1" providerId="ADAL" clId="{A43ED10B-C0D7-409E-AD3F-D6A5AE869F78}" dt="2022-06-30T08:45:00.255" v="11506" actId="20577"/>
          <ac:spMkLst>
            <pc:docMk/>
            <pc:sldMk cId="2041571504" sldId="264"/>
            <ac:spMk id="13" creationId="{D7235C76-7364-42F4-89B1-FD0E236C9EB8}"/>
          </ac:spMkLst>
        </pc:spChg>
        <pc:spChg chg="mod">
          <ac:chgData name="Roussel, Gaetan" userId="269e9c6f-a5fe-49a6-9b6b-1c16ee3e16b1" providerId="ADAL" clId="{A43ED10B-C0D7-409E-AD3F-D6A5AE869F78}" dt="2022-06-25T13:15:24.817" v="475" actId="165"/>
          <ac:spMkLst>
            <pc:docMk/>
            <pc:sldMk cId="2041571504" sldId="264"/>
            <ac:spMk id="15" creationId="{B88E4EA1-CA97-45AC-B392-A16877108D92}"/>
          </ac:spMkLst>
        </pc:spChg>
        <pc:spChg chg="mod">
          <ac:chgData name="Roussel, Gaetan" userId="269e9c6f-a5fe-49a6-9b6b-1c16ee3e16b1" providerId="ADAL" clId="{A43ED10B-C0D7-409E-AD3F-D6A5AE869F78}" dt="2022-06-25T13:15:24.817" v="475" actId="165"/>
          <ac:spMkLst>
            <pc:docMk/>
            <pc:sldMk cId="2041571504" sldId="264"/>
            <ac:spMk id="16" creationId="{C04CCCF8-E999-44D5-A453-CE0A28882DF7}"/>
          </ac:spMkLst>
        </pc:spChg>
        <pc:spChg chg="mod topLvl">
          <ac:chgData name="Roussel, Gaetan" userId="269e9c6f-a5fe-49a6-9b6b-1c16ee3e16b1" providerId="ADAL" clId="{A43ED10B-C0D7-409E-AD3F-D6A5AE869F78}" dt="2022-06-30T08:15:39.174" v="11181" actId="165"/>
          <ac:spMkLst>
            <pc:docMk/>
            <pc:sldMk cId="2041571504" sldId="264"/>
            <ac:spMk id="18" creationId="{36E24E78-D966-43A4-94D4-83CE0B777AA1}"/>
          </ac:spMkLst>
        </pc:spChg>
        <pc:spChg chg="add del mod">
          <ac:chgData name="Roussel, Gaetan" userId="269e9c6f-a5fe-49a6-9b6b-1c16ee3e16b1" providerId="ADAL" clId="{A43ED10B-C0D7-409E-AD3F-D6A5AE869F78}" dt="2022-06-27T13:11:22.159" v="7331" actId="478"/>
          <ac:spMkLst>
            <pc:docMk/>
            <pc:sldMk cId="2041571504" sldId="264"/>
            <ac:spMk id="21" creationId="{6034BAE7-D46B-4586-8FB2-BB235002A941}"/>
          </ac:spMkLst>
        </pc:spChg>
        <pc:spChg chg="add mod">
          <ac:chgData name="Roussel, Gaetan" userId="269e9c6f-a5fe-49a6-9b6b-1c16ee3e16b1" providerId="ADAL" clId="{A43ED10B-C0D7-409E-AD3F-D6A5AE869F78}" dt="2022-06-30T08:22:28.974" v="11259"/>
          <ac:spMkLst>
            <pc:docMk/>
            <pc:sldMk cId="2041571504" sldId="264"/>
            <ac:spMk id="22" creationId="{CC300544-7F72-4309-B6E1-49DBFBBBABAA}"/>
          </ac:spMkLst>
        </pc:spChg>
        <pc:spChg chg="add mod">
          <ac:chgData name="Roussel, Gaetan" userId="269e9c6f-a5fe-49a6-9b6b-1c16ee3e16b1" providerId="ADAL" clId="{A43ED10B-C0D7-409E-AD3F-D6A5AE869F78}" dt="2022-06-28T18:24:22.397" v="9545" actId="113"/>
          <ac:spMkLst>
            <pc:docMk/>
            <pc:sldMk cId="2041571504" sldId="264"/>
            <ac:spMk id="23" creationId="{C351DE36-3D04-49D2-974B-0CA0B7638A28}"/>
          </ac:spMkLst>
        </pc:spChg>
        <pc:grpChg chg="add del mod">
          <ac:chgData name="Roussel, Gaetan" userId="269e9c6f-a5fe-49a6-9b6b-1c16ee3e16b1" providerId="ADAL" clId="{A43ED10B-C0D7-409E-AD3F-D6A5AE869F78}" dt="2022-06-25T13:15:16.850" v="473" actId="165"/>
          <ac:grpSpMkLst>
            <pc:docMk/>
            <pc:sldMk cId="2041571504" sldId="264"/>
            <ac:grpSpMk id="4" creationId="{7BB30C49-9077-4924-8009-16E107A5C057}"/>
          </ac:grpSpMkLst>
        </pc:grpChg>
        <pc:grpChg chg="mod topLvl">
          <ac:chgData name="Roussel, Gaetan" userId="269e9c6f-a5fe-49a6-9b6b-1c16ee3e16b1" providerId="ADAL" clId="{A43ED10B-C0D7-409E-AD3F-D6A5AE869F78}" dt="2022-06-28T18:33:55.787" v="9750" actId="1035"/>
          <ac:grpSpMkLst>
            <pc:docMk/>
            <pc:sldMk cId="2041571504" sldId="264"/>
            <ac:grpSpMk id="6" creationId="{8CB6EC18-5999-4210-BB23-D306C7ED25DF}"/>
          </ac:grpSpMkLst>
        </pc:grpChg>
        <pc:grpChg chg="add del mod">
          <ac:chgData name="Roussel, Gaetan" userId="269e9c6f-a5fe-49a6-9b6b-1c16ee3e16b1" providerId="ADAL" clId="{A43ED10B-C0D7-409E-AD3F-D6A5AE869F78}" dt="2022-06-25T13:15:24.817" v="475" actId="165"/>
          <ac:grpSpMkLst>
            <pc:docMk/>
            <pc:sldMk cId="2041571504" sldId="264"/>
            <ac:grpSpMk id="12" creationId="{759AE26C-373D-4951-B9D7-D6A91FFF2D6B}"/>
          </ac:grpSpMkLst>
        </pc:grpChg>
        <pc:grpChg chg="mod topLvl">
          <ac:chgData name="Roussel, Gaetan" userId="269e9c6f-a5fe-49a6-9b6b-1c16ee3e16b1" providerId="ADAL" clId="{A43ED10B-C0D7-409E-AD3F-D6A5AE869F78}" dt="2022-06-25T13:15:24.817" v="475" actId="165"/>
          <ac:grpSpMkLst>
            <pc:docMk/>
            <pc:sldMk cId="2041571504" sldId="264"/>
            <ac:grpSpMk id="14" creationId="{0CDA7E03-4B44-467C-8B5A-F7A8B51AF4E5}"/>
          </ac:grpSpMkLst>
        </pc:grpChg>
        <pc:grpChg chg="add del mod">
          <ac:chgData name="Roussel, Gaetan" userId="269e9c6f-a5fe-49a6-9b6b-1c16ee3e16b1" providerId="ADAL" clId="{A43ED10B-C0D7-409E-AD3F-D6A5AE869F78}" dt="2022-06-30T08:15:39.174" v="11181" actId="165"/>
          <ac:grpSpMkLst>
            <pc:docMk/>
            <pc:sldMk cId="2041571504" sldId="264"/>
            <ac:grpSpMk id="17" creationId="{550B725D-D48E-40B9-B9AA-D8059EDCEB73}"/>
          </ac:grpSpMkLst>
        </pc:grpChg>
        <pc:picChg chg="del mod topLvl">
          <ac:chgData name="Roussel, Gaetan" userId="269e9c6f-a5fe-49a6-9b6b-1c16ee3e16b1" providerId="ADAL" clId="{A43ED10B-C0D7-409E-AD3F-D6A5AE869F78}" dt="2022-06-30T08:15:43.884" v="11182" actId="478"/>
          <ac:picMkLst>
            <pc:docMk/>
            <pc:sldMk cId="2041571504" sldId="264"/>
            <ac:picMk id="19" creationId="{028F6B8A-9EAB-40DB-8DD2-3BBA859E69C1}"/>
          </ac:picMkLst>
        </pc:picChg>
        <pc:picChg chg="mod topLvl">
          <ac:chgData name="Roussel, Gaetan" userId="269e9c6f-a5fe-49a6-9b6b-1c16ee3e16b1" providerId="ADAL" clId="{A43ED10B-C0D7-409E-AD3F-D6A5AE869F78}" dt="2022-06-30T08:15:39.174" v="11181" actId="165"/>
          <ac:picMkLst>
            <pc:docMk/>
            <pc:sldMk cId="2041571504" sldId="264"/>
            <ac:picMk id="20" creationId="{5EDADC98-FA25-438E-957C-BD25DF82BC01}"/>
          </ac:picMkLst>
        </pc:picChg>
        <pc:picChg chg="add mod">
          <ac:chgData name="Roussel, Gaetan" userId="269e9c6f-a5fe-49a6-9b6b-1c16ee3e16b1" providerId="ADAL" clId="{A43ED10B-C0D7-409E-AD3F-D6A5AE869F78}" dt="2022-06-30T08:15:44.235" v="11183"/>
          <ac:picMkLst>
            <pc:docMk/>
            <pc:sldMk cId="2041571504" sldId="264"/>
            <ac:picMk id="21" creationId="{CA4988BA-9984-4C82-AF5C-6EC2437D30B8}"/>
          </ac:picMkLst>
        </pc:picChg>
      </pc:sldChg>
      <pc:sldChg chg="addSp delSp modSp add mod ord">
        <pc:chgData name="Roussel, Gaetan" userId="269e9c6f-a5fe-49a6-9b6b-1c16ee3e16b1" providerId="ADAL" clId="{A43ED10B-C0D7-409E-AD3F-D6A5AE869F78}" dt="2022-06-30T08:22:33.957" v="11261"/>
        <pc:sldMkLst>
          <pc:docMk/>
          <pc:sldMk cId="1237163766" sldId="265"/>
        </pc:sldMkLst>
        <pc:spChg chg="mod">
          <ac:chgData name="Roussel, Gaetan" userId="269e9c6f-a5fe-49a6-9b6b-1c16ee3e16b1" providerId="ADAL" clId="{A43ED10B-C0D7-409E-AD3F-D6A5AE869F78}" dt="2022-06-28T18:24:37.048" v="9550" actId="403"/>
          <ac:spMkLst>
            <pc:docMk/>
            <pc:sldMk cId="1237163766" sldId="265"/>
            <ac:spMk id="2" creationId="{CB5A1A39-FEA5-45F0-8A95-1A2DE8823E7B}"/>
          </ac:spMkLst>
        </pc:spChg>
        <pc:spChg chg="del">
          <ac:chgData name="Roussel, Gaetan" userId="269e9c6f-a5fe-49a6-9b6b-1c16ee3e16b1" providerId="ADAL" clId="{A43ED10B-C0D7-409E-AD3F-D6A5AE869F78}" dt="2022-06-25T14:29:08.681" v="2623" actId="478"/>
          <ac:spMkLst>
            <pc:docMk/>
            <pc:sldMk cId="1237163766" sldId="265"/>
            <ac:spMk id="3" creationId="{C2DA7C24-C848-413B-84B3-6D78FD4BDCCF}"/>
          </ac:spMkLst>
        </pc:spChg>
        <pc:spChg chg="mod topLvl">
          <ac:chgData name="Roussel, Gaetan" userId="269e9c6f-a5fe-49a6-9b6b-1c16ee3e16b1" providerId="ADAL" clId="{A43ED10B-C0D7-409E-AD3F-D6A5AE869F78}" dt="2022-06-30T08:15:49.298" v="11184" actId="165"/>
          <ac:spMkLst>
            <pc:docMk/>
            <pc:sldMk cId="1237163766" sldId="265"/>
            <ac:spMk id="5" creationId="{81E10ACE-8204-433C-A47C-CE8C4C39D474}"/>
          </ac:spMkLst>
        </pc:spChg>
        <pc:spChg chg="add del mod">
          <ac:chgData name="Roussel, Gaetan" userId="269e9c6f-a5fe-49a6-9b6b-1c16ee3e16b1" providerId="ADAL" clId="{A43ED10B-C0D7-409E-AD3F-D6A5AE869F78}" dt="2022-06-27T13:11:53.206" v="7335" actId="478"/>
          <ac:spMkLst>
            <pc:docMk/>
            <pc:sldMk cId="1237163766" sldId="265"/>
            <ac:spMk id="8" creationId="{4818DEB8-EE23-4ED9-803D-DCCA250B0B49}"/>
          </ac:spMkLst>
        </pc:spChg>
        <pc:spChg chg="add del mod">
          <ac:chgData name="Roussel, Gaetan" userId="269e9c6f-a5fe-49a6-9b6b-1c16ee3e16b1" providerId="ADAL" clId="{A43ED10B-C0D7-409E-AD3F-D6A5AE869F78}" dt="2022-06-27T13:05:57.250" v="7148"/>
          <ac:spMkLst>
            <pc:docMk/>
            <pc:sldMk cId="1237163766" sldId="265"/>
            <ac:spMk id="10" creationId="{0A7632A1-F470-44E8-8B9D-388969850213}"/>
          </ac:spMkLst>
        </pc:spChg>
        <pc:spChg chg="mod">
          <ac:chgData name="Roussel, Gaetan" userId="269e9c6f-a5fe-49a6-9b6b-1c16ee3e16b1" providerId="ADAL" clId="{A43ED10B-C0D7-409E-AD3F-D6A5AE869F78}" dt="2022-06-26T11:16:30.380" v="2780"/>
          <ac:spMkLst>
            <pc:docMk/>
            <pc:sldMk cId="1237163766" sldId="265"/>
            <ac:spMk id="12" creationId="{A6B56800-DE8A-4643-B257-808E8A55CBE2}"/>
          </ac:spMkLst>
        </pc:spChg>
        <pc:spChg chg="mod">
          <ac:chgData name="Roussel, Gaetan" userId="269e9c6f-a5fe-49a6-9b6b-1c16ee3e16b1" providerId="ADAL" clId="{A43ED10B-C0D7-409E-AD3F-D6A5AE869F78}" dt="2022-06-26T11:16:30.380" v="2780"/>
          <ac:spMkLst>
            <pc:docMk/>
            <pc:sldMk cId="1237163766" sldId="265"/>
            <ac:spMk id="13" creationId="{51D870FE-EAED-4EF1-A392-888F4138C27E}"/>
          </ac:spMkLst>
        </pc:spChg>
        <pc:spChg chg="add mod">
          <ac:chgData name="Roussel, Gaetan" userId="269e9c6f-a5fe-49a6-9b6b-1c16ee3e16b1" providerId="ADAL" clId="{A43ED10B-C0D7-409E-AD3F-D6A5AE869F78}" dt="2022-06-28T18:22:49.189" v="9532" actId="12788"/>
          <ac:spMkLst>
            <pc:docMk/>
            <pc:sldMk cId="1237163766" sldId="265"/>
            <ac:spMk id="14" creationId="{1735F0CA-5549-431E-B2EA-F247016C8702}"/>
          </ac:spMkLst>
        </pc:spChg>
        <pc:spChg chg="add mod">
          <ac:chgData name="Roussel, Gaetan" userId="269e9c6f-a5fe-49a6-9b6b-1c16ee3e16b1" providerId="ADAL" clId="{A43ED10B-C0D7-409E-AD3F-D6A5AE869F78}" dt="2022-06-27T13:03:08.103" v="7034" actId="1076"/>
          <ac:spMkLst>
            <pc:docMk/>
            <pc:sldMk cId="1237163766" sldId="265"/>
            <ac:spMk id="15" creationId="{30BCB580-89A8-45E3-B5C9-FE8F5FBB51BD}"/>
          </ac:spMkLst>
        </pc:spChg>
        <pc:spChg chg="add mod">
          <ac:chgData name="Roussel, Gaetan" userId="269e9c6f-a5fe-49a6-9b6b-1c16ee3e16b1" providerId="ADAL" clId="{A43ED10B-C0D7-409E-AD3F-D6A5AE869F78}" dt="2022-06-27T13:02:26.914" v="7022" actId="20577"/>
          <ac:spMkLst>
            <pc:docMk/>
            <pc:sldMk cId="1237163766" sldId="265"/>
            <ac:spMk id="16" creationId="{30A229F3-6B5E-43AC-9FEB-B37D940439A5}"/>
          </ac:spMkLst>
        </pc:spChg>
        <pc:spChg chg="add mod">
          <ac:chgData name="Roussel, Gaetan" userId="269e9c6f-a5fe-49a6-9b6b-1c16ee3e16b1" providerId="ADAL" clId="{A43ED10B-C0D7-409E-AD3F-D6A5AE869F78}" dt="2022-06-27T13:02:19.241" v="7004" actId="20577"/>
          <ac:spMkLst>
            <pc:docMk/>
            <pc:sldMk cId="1237163766" sldId="265"/>
            <ac:spMk id="17" creationId="{345ABC89-646F-4DFE-9004-10B556B7E221}"/>
          </ac:spMkLst>
        </pc:spChg>
        <pc:spChg chg="add mod">
          <ac:chgData name="Roussel, Gaetan" userId="269e9c6f-a5fe-49a6-9b6b-1c16ee3e16b1" providerId="ADAL" clId="{A43ED10B-C0D7-409E-AD3F-D6A5AE869F78}" dt="2022-06-26T11:30:46.794" v="3484" actId="1038"/>
          <ac:spMkLst>
            <pc:docMk/>
            <pc:sldMk cId="1237163766" sldId="265"/>
            <ac:spMk id="18" creationId="{89DAF6F6-EC14-4D3A-B84A-78E88CD22FA3}"/>
          </ac:spMkLst>
        </pc:spChg>
        <pc:spChg chg="add mod">
          <ac:chgData name="Roussel, Gaetan" userId="269e9c6f-a5fe-49a6-9b6b-1c16ee3e16b1" providerId="ADAL" clId="{A43ED10B-C0D7-409E-AD3F-D6A5AE869F78}" dt="2022-06-26T11:30:46.794" v="3484" actId="1038"/>
          <ac:spMkLst>
            <pc:docMk/>
            <pc:sldMk cId="1237163766" sldId="265"/>
            <ac:spMk id="19" creationId="{07B36BE2-2C4D-421B-9259-474E2B9D6251}"/>
          </ac:spMkLst>
        </pc:spChg>
        <pc:spChg chg="add mod">
          <ac:chgData name="Roussel, Gaetan" userId="269e9c6f-a5fe-49a6-9b6b-1c16ee3e16b1" providerId="ADAL" clId="{A43ED10B-C0D7-409E-AD3F-D6A5AE869F78}" dt="2022-06-27T13:25:48.356" v="7508" actId="313"/>
          <ac:spMkLst>
            <pc:docMk/>
            <pc:sldMk cId="1237163766" sldId="265"/>
            <ac:spMk id="20" creationId="{79386ABD-539B-4C49-B4BD-A345A684ECD6}"/>
          </ac:spMkLst>
        </pc:spChg>
        <pc:spChg chg="add mod">
          <ac:chgData name="Roussel, Gaetan" userId="269e9c6f-a5fe-49a6-9b6b-1c16ee3e16b1" providerId="ADAL" clId="{A43ED10B-C0D7-409E-AD3F-D6A5AE869F78}" dt="2022-06-28T18:22:38.130" v="9527" actId="554"/>
          <ac:spMkLst>
            <pc:docMk/>
            <pc:sldMk cId="1237163766" sldId="265"/>
            <ac:spMk id="21" creationId="{163868FD-C225-4281-99CE-E88532CA73DF}"/>
          </ac:spMkLst>
        </pc:spChg>
        <pc:spChg chg="add mod">
          <ac:chgData name="Roussel, Gaetan" userId="269e9c6f-a5fe-49a6-9b6b-1c16ee3e16b1" providerId="ADAL" clId="{A43ED10B-C0D7-409E-AD3F-D6A5AE869F78}" dt="2022-06-30T08:22:33.957" v="11261"/>
          <ac:spMkLst>
            <pc:docMk/>
            <pc:sldMk cId="1237163766" sldId="265"/>
            <ac:spMk id="22" creationId="{BEDA171A-F6B6-4078-8776-E12935C298AE}"/>
          </ac:spMkLst>
        </pc:spChg>
        <pc:spChg chg="add del mod">
          <ac:chgData name="Roussel, Gaetan" userId="269e9c6f-a5fe-49a6-9b6b-1c16ee3e16b1" providerId="ADAL" clId="{A43ED10B-C0D7-409E-AD3F-D6A5AE869F78}" dt="2022-06-27T13:43:45.599" v="7601"/>
          <ac:spMkLst>
            <pc:docMk/>
            <pc:sldMk cId="1237163766" sldId="265"/>
            <ac:spMk id="23" creationId="{D97E047E-3358-4AB6-A322-68596DCEA7CD}"/>
          </ac:spMkLst>
        </pc:spChg>
        <pc:spChg chg="add del mod ord">
          <ac:chgData name="Roussel, Gaetan" userId="269e9c6f-a5fe-49a6-9b6b-1c16ee3e16b1" providerId="ADAL" clId="{A43ED10B-C0D7-409E-AD3F-D6A5AE869F78}" dt="2022-06-28T18:25:20.176" v="9584" actId="478"/>
          <ac:spMkLst>
            <pc:docMk/>
            <pc:sldMk cId="1237163766" sldId="265"/>
            <ac:spMk id="24" creationId="{B0C2C3CA-9910-411A-9236-A0E86E848E70}"/>
          </ac:spMkLst>
        </pc:spChg>
        <pc:spChg chg="add mod">
          <ac:chgData name="Roussel, Gaetan" userId="269e9c6f-a5fe-49a6-9b6b-1c16ee3e16b1" providerId="ADAL" clId="{A43ED10B-C0D7-409E-AD3F-D6A5AE869F78}" dt="2022-06-28T18:22:38.130" v="9527" actId="554"/>
          <ac:spMkLst>
            <pc:docMk/>
            <pc:sldMk cId="1237163766" sldId="265"/>
            <ac:spMk id="25" creationId="{33108FB2-75D4-4A3D-A72C-0F77A6EF684F}"/>
          </ac:spMkLst>
        </pc:spChg>
        <pc:spChg chg="add mod">
          <ac:chgData name="Roussel, Gaetan" userId="269e9c6f-a5fe-49a6-9b6b-1c16ee3e16b1" providerId="ADAL" clId="{A43ED10B-C0D7-409E-AD3F-D6A5AE869F78}" dt="2022-06-28T18:22:49.189" v="9532" actId="12788"/>
          <ac:spMkLst>
            <pc:docMk/>
            <pc:sldMk cId="1237163766" sldId="265"/>
            <ac:spMk id="26" creationId="{F6ED7175-5734-4595-8CDB-6D37F11F1DB2}"/>
          </ac:spMkLst>
        </pc:spChg>
        <pc:spChg chg="add mod">
          <ac:chgData name="Roussel, Gaetan" userId="269e9c6f-a5fe-49a6-9b6b-1c16ee3e16b1" providerId="ADAL" clId="{A43ED10B-C0D7-409E-AD3F-D6A5AE869F78}" dt="2022-06-28T18:25:13.981" v="9583" actId="20577"/>
          <ac:spMkLst>
            <pc:docMk/>
            <pc:sldMk cId="1237163766" sldId="265"/>
            <ac:spMk id="28" creationId="{F7C06A4A-A131-4CC7-AA3F-F4DAA7214D0A}"/>
          </ac:spMkLst>
        </pc:spChg>
        <pc:spChg chg="mod">
          <ac:chgData name="Roussel, Gaetan" userId="269e9c6f-a5fe-49a6-9b6b-1c16ee3e16b1" providerId="ADAL" clId="{A43ED10B-C0D7-409E-AD3F-D6A5AE869F78}" dt="2022-06-28T18:25:03.166" v="9580"/>
          <ac:spMkLst>
            <pc:docMk/>
            <pc:sldMk cId="1237163766" sldId="265"/>
            <ac:spMk id="30" creationId="{EACAED8C-C990-4589-BE96-04E776FF31C1}"/>
          </ac:spMkLst>
        </pc:spChg>
        <pc:spChg chg="mod">
          <ac:chgData name="Roussel, Gaetan" userId="269e9c6f-a5fe-49a6-9b6b-1c16ee3e16b1" providerId="ADAL" clId="{A43ED10B-C0D7-409E-AD3F-D6A5AE869F78}" dt="2022-06-28T18:25:03.166" v="9580"/>
          <ac:spMkLst>
            <pc:docMk/>
            <pc:sldMk cId="1237163766" sldId="265"/>
            <ac:spMk id="31" creationId="{7B66D694-0484-49DB-825B-D5BA938165F9}"/>
          </ac:spMkLst>
        </pc:spChg>
        <pc:grpChg chg="add del mod">
          <ac:chgData name="Roussel, Gaetan" userId="269e9c6f-a5fe-49a6-9b6b-1c16ee3e16b1" providerId="ADAL" clId="{A43ED10B-C0D7-409E-AD3F-D6A5AE869F78}" dt="2022-06-30T08:15:49.298" v="11184" actId="165"/>
          <ac:grpSpMkLst>
            <pc:docMk/>
            <pc:sldMk cId="1237163766" sldId="265"/>
            <ac:grpSpMk id="4" creationId="{53882DFE-8A8B-4EA2-8E53-18DC598F9180}"/>
          </ac:grpSpMkLst>
        </pc:grpChg>
        <pc:grpChg chg="add del mod">
          <ac:chgData name="Roussel, Gaetan" userId="269e9c6f-a5fe-49a6-9b6b-1c16ee3e16b1" providerId="ADAL" clId="{A43ED10B-C0D7-409E-AD3F-D6A5AE869F78}" dt="2022-06-28T18:25:21.034" v="9585" actId="478"/>
          <ac:grpSpMkLst>
            <pc:docMk/>
            <pc:sldMk cId="1237163766" sldId="265"/>
            <ac:grpSpMk id="11" creationId="{5061F58C-3A2E-406B-837D-2668939AD10E}"/>
          </ac:grpSpMkLst>
        </pc:grpChg>
        <pc:grpChg chg="add mod">
          <ac:chgData name="Roussel, Gaetan" userId="269e9c6f-a5fe-49a6-9b6b-1c16ee3e16b1" providerId="ADAL" clId="{A43ED10B-C0D7-409E-AD3F-D6A5AE869F78}" dt="2022-06-28T18:25:03.166" v="9580"/>
          <ac:grpSpMkLst>
            <pc:docMk/>
            <pc:sldMk cId="1237163766" sldId="265"/>
            <ac:grpSpMk id="29" creationId="{D4735F94-34CA-45A0-89C3-A8FA74A8C0BF}"/>
          </ac:grpSpMkLst>
        </pc:grpChg>
        <pc:picChg chg="del mod topLvl">
          <ac:chgData name="Roussel, Gaetan" userId="269e9c6f-a5fe-49a6-9b6b-1c16ee3e16b1" providerId="ADAL" clId="{A43ED10B-C0D7-409E-AD3F-D6A5AE869F78}" dt="2022-06-30T08:15:51.669" v="11185" actId="478"/>
          <ac:picMkLst>
            <pc:docMk/>
            <pc:sldMk cId="1237163766" sldId="265"/>
            <ac:picMk id="6" creationId="{47F3CF94-A622-43E9-B30E-55A33040A8F7}"/>
          </ac:picMkLst>
        </pc:picChg>
        <pc:picChg chg="mod topLvl">
          <ac:chgData name="Roussel, Gaetan" userId="269e9c6f-a5fe-49a6-9b6b-1c16ee3e16b1" providerId="ADAL" clId="{A43ED10B-C0D7-409E-AD3F-D6A5AE869F78}" dt="2022-06-30T08:15:49.298" v="11184" actId="165"/>
          <ac:picMkLst>
            <pc:docMk/>
            <pc:sldMk cId="1237163766" sldId="265"/>
            <ac:picMk id="7" creationId="{981A2C2E-67FB-4095-850E-3C58285190B2}"/>
          </ac:picMkLst>
        </pc:picChg>
        <pc:picChg chg="add del mod">
          <ac:chgData name="Roussel, Gaetan" userId="269e9c6f-a5fe-49a6-9b6b-1c16ee3e16b1" providerId="ADAL" clId="{A43ED10B-C0D7-409E-AD3F-D6A5AE869F78}" dt="2022-06-26T11:18:12.087" v="2800" actId="478"/>
          <ac:picMkLst>
            <pc:docMk/>
            <pc:sldMk cId="1237163766" sldId="265"/>
            <ac:picMk id="9" creationId="{2F07E54E-0FCC-4271-8E25-DD2DB5CC1D1D}"/>
          </ac:picMkLst>
        </pc:picChg>
        <pc:picChg chg="add mod">
          <ac:chgData name="Roussel, Gaetan" userId="269e9c6f-a5fe-49a6-9b6b-1c16ee3e16b1" providerId="ADAL" clId="{A43ED10B-C0D7-409E-AD3F-D6A5AE869F78}" dt="2022-06-30T08:15:52.116" v="11186"/>
          <ac:picMkLst>
            <pc:docMk/>
            <pc:sldMk cId="1237163766" sldId="265"/>
            <ac:picMk id="23" creationId="{24CC56B6-49F2-4AF8-9ECC-5D434F9F69B3}"/>
          </ac:picMkLst>
        </pc:picChg>
        <pc:picChg chg="add mod">
          <ac:chgData name="Roussel, Gaetan" userId="269e9c6f-a5fe-49a6-9b6b-1c16ee3e16b1" providerId="ADAL" clId="{A43ED10B-C0D7-409E-AD3F-D6A5AE869F78}" dt="2022-06-28T18:22:46.161" v="9531" actId="1076"/>
          <ac:picMkLst>
            <pc:docMk/>
            <pc:sldMk cId="1237163766" sldId="265"/>
            <ac:picMk id="4098" creationId="{C1A49D03-7BE9-491C-8ABA-B234B02BEEC5}"/>
          </ac:picMkLst>
        </pc:picChg>
      </pc:sldChg>
      <pc:sldChg chg="addSp delSp modSp add mod ord">
        <pc:chgData name="Roussel, Gaetan" userId="269e9c6f-a5fe-49a6-9b6b-1c16ee3e16b1" providerId="ADAL" clId="{A43ED10B-C0D7-409E-AD3F-D6A5AE869F78}" dt="2022-06-30T08:53:50.590" v="11633"/>
        <pc:sldMkLst>
          <pc:docMk/>
          <pc:sldMk cId="1896424197" sldId="266"/>
        </pc:sldMkLst>
        <pc:spChg chg="del">
          <ac:chgData name="Roussel, Gaetan" userId="269e9c6f-a5fe-49a6-9b6b-1c16ee3e16b1" providerId="ADAL" clId="{A43ED10B-C0D7-409E-AD3F-D6A5AE869F78}" dt="2022-06-25T14:34:37.904" v="2650" actId="478"/>
          <ac:spMkLst>
            <pc:docMk/>
            <pc:sldMk cId="1896424197" sldId="266"/>
            <ac:spMk id="2" creationId="{CB5A1A39-FEA5-45F0-8A95-1A2DE8823E7B}"/>
          </ac:spMkLst>
        </pc:spChg>
        <pc:spChg chg="del">
          <ac:chgData name="Roussel, Gaetan" userId="269e9c6f-a5fe-49a6-9b6b-1c16ee3e16b1" providerId="ADAL" clId="{A43ED10B-C0D7-409E-AD3F-D6A5AE869F78}" dt="2022-06-25T14:34:35.922" v="2649" actId="478"/>
          <ac:spMkLst>
            <pc:docMk/>
            <pc:sldMk cId="1896424197" sldId="266"/>
            <ac:spMk id="3" creationId="{C2DA7C24-C848-413B-84B3-6D78FD4BDCCF}"/>
          </ac:spMkLst>
        </pc:spChg>
        <pc:spChg chg="mod">
          <ac:chgData name="Roussel, Gaetan" userId="269e9c6f-a5fe-49a6-9b6b-1c16ee3e16b1" providerId="ADAL" clId="{A43ED10B-C0D7-409E-AD3F-D6A5AE869F78}" dt="2022-06-24T15:32:59.242" v="411"/>
          <ac:spMkLst>
            <pc:docMk/>
            <pc:sldMk cId="1896424197" sldId="266"/>
            <ac:spMk id="5" creationId="{B43ADF8A-10DF-4FF5-91F2-B59C434A9F40}"/>
          </ac:spMkLst>
        </pc:spChg>
        <pc:spChg chg="add del mod">
          <ac:chgData name="Roussel, Gaetan" userId="269e9c6f-a5fe-49a6-9b6b-1c16ee3e16b1" providerId="ADAL" clId="{A43ED10B-C0D7-409E-AD3F-D6A5AE869F78}" dt="2022-06-27T13:14:02.958" v="7355" actId="478"/>
          <ac:spMkLst>
            <pc:docMk/>
            <pc:sldMk cId="1896424197" sldId="266"/>
            <ac:spMk id="8" creationId="{6F0227CC-EF1E-4B7D-8C30-40F062D7F640}"/>
          </ac:spMkLst>
        </pc:spChg>
        <pc:spChg chg="mod topLvl">
          <ac:chgData name="Roussel, Gaetan" userId="269e9c6f-a5fe-49a6-9b6b-1c16ee3e16b1" providerId="ADAL" clId="{A43ED10B-C0D7-409E-AD3F-D6A5AE869F78}" dt="2022-06-25T14:34:58.422" v="2713" actId="165"/>
          <ac:spMkLst>
            <pc:docMk/>
            <pc:sldMk cId="1896424197" sldId="266"/>
            <ac:spMk id="12" creationId="{90D99F0E-6487-466F-B60F-822FF5B994BE}"/>
          </ac:spMkLst>
        </pc:spChg>
        <pc:spChg chg="mod topLvl">
          <ac:chgData name="Roussel, Gaetan" userId="269e9c6f-a5fe-49a6-9b6b-1c16ee3e16b1" providerId="ADAL" clId="{A43ED10B-C0D7-409E-AD3F-D6A5AE869F78}" dt="2022-06-25T14:34:58.422" v="2713" actId="165"/>
          <ac:spMkLst>
            <pc:docMk/>
            <pc:sldMk cId="1896424197" sldId="266"/>
            <ac:spMk id="13" creationId="{32464AAF-FCB9-4D95-8CE2-FB3618582707}"/>
          </ac:spMkLst>
        </pc:spChg>
        <pc:spChg chg="mod topLvl">
          <ac:chgData name="Roussel, Gaetan" userId="269e9c6f-a5fe-49a6-9b6b-1c16ee3e16b1" providerId="ADAL" clId="{A43ED10B-C0D7-409E-AD3F-D6A5AE869F78}" dt="2022-06-25T14:34:58.422" v="2713" actId="165"/>
          <ac:spMkLst>
            <pc:docMk/>
            <pc:sldMk cId="1896424197" sldId="266"/>
            <ac:spMk id="14" creationId="{11D7D80D-A55B-4775-AB33-5D0259829CD4}"/>
          </ac:spMkLst>
        </pc:spChg>
        <pc:spChg chg="mod topLvl">
          <ac:chgData name="Roussel, Gaetan" userId="269e9c6f-a5fe-49a6-9b6b-1c16ee3e16b1" providerId="ADAL" clId="{A43ED10B-C0D7-409E-AD3F-D6A5AE869F78}" dt="2022-06-25T14:35:55.231" v="2717" actId="208"/>
          <ac:spMkLst>
            <pc:docMk/>
            <pc:sldMk cId="1896424197" sldId="266"/>
            <ac:spMk id="15" creationId="{51787CE7-0093-4AEA-B8EA-12027B5892D3}"/>
          </ac:spMkLst>
        </pc:spChg>
        <pc:spChg chg="mod topLvl">
          <ac:chgData name="Roussel, Gaetan" userId="269e9c6f-a5fe-49a6-9b6b-1c16ee3e16b1" providerId="ADAL" clId="{A43ED10B-C0D7-409E-AD3F-D6A5AE869F78}" dt="2022-06-25T14:35:49.871" v="2716" actId="207"/>
          <ac:spMkLst>
            <pc:docMk/>
            <pc:sldMk cId="1896424197" sldId="266"/>
            <ac:spMk id="16" creationId="{7C150236-0C1D-42D0-95B9-1172F8B361A4}"/>
          </ac:spMkLst>
        </pc:spChg>
        <pc:spChg chg="mod topLvl">
          <ac:chgData name="Roussel, Gaetan" userId="269e9c6f-a5fe-49a6-9b6b-1c16ee3e16b1" providerId="ADAL" clId="{A43ED10B-C0D7-409E-AD3F-D6A5AE869F78}" dt="2022-06-25T14:34:58.422" v="2713" actId="165"/>
          <ac:spMkLst>
            <pc:docMk/>
            <pc:sldMk cId="1896424197" sldId="266"/>
            <ac:spMk id="17" creationId="{F9440DDC-A728-41AC-92F9-5C253688B567}"/>
          </ac:spMkLst>
        </pc:spChg>
        <pc:spChg chg="mod topLvl">
          <ac:chgData name="Roussel, Gaetan" userId="269e9c6f-a5fe-49a6-9b6b-1c16ee3e16b1" providerId="ADAL" clId="{A43ED10B-C0D7-409E-AD3F-D6A5AE869F78}" dt="2022-06-25T14:34:58.422" v="2713" actId="165"/>
          <ac:spMkLst>
            <pc:docMk/>
            <pc:sldMk cId="1896424197" sldId="266"/>
            <ac:spMk id="18" creationId="{49297067-BF34-4891-B38C-A2A217E01B4D}"/>
          </ac:spMkLst>
        </pc:spChg>
        <pc:spChg chg="mod topLvl">
          <ac:chgData name="Roussel, Gaetan" userId="269e9c6f-a5fe-49a6-9b6b-1c16ee3e16b1" providerId="ADAL" clId="{A43ED10B-C0D7-409E-AD3F-D6A5AE869F78}" dt="2022-06-25T14:34:58.422" v="2713" actId="165"/>
          <ac:spMkLst>
            <pc:docMk/>
            <pc:sldMk cId="1896424197" sldId="266"/>
            <ac:spMk id="19" creationId="{E06CF4BC-7F41-4FAB-88F8-13C93E24A93A}"/>
          </ac:spMkLst>
        </pc:spChg>
        <pc:spChg chg="mod topLvl">
          <ac:chgData name="Roussel, Gaetan" userId="269e9c6f-a5fe-49a6-9b6b-1c16ee3e16b1" providerId="ADAL" clId="{A43ED10B-C0D7-409E-AD3F-D6A5AE869F78}" dt="2022-06-25T14:34:58.422" v="2713" actId="165"/>
          <ac:spMkLst>
            <pc:docMk/>
            <pc:sldMk cId="1896424197" sldId="266"/>
            <ac:spMk id="20" creationId="{0056AFD6-FC5E-4F92-B039-764BE2B2020B}"/>
          </ac:spMkLst>
        </pc:spChg>
        <pc:spChg chg="mod">
          <ac:chgData name="Roussel, Gaetan" userId="269e9c6f-a5fe-49a6-9b6b-1c16ee3e16b1" providerId="ADAL" clId="{A43ED10B-C0D7-409E-AD3F-D6A5AE869F78}" dt="2022-06-25T14:34:58.422" v="2713" actId="165"/>
          <ac:spMkLst>
            <pc:docMk/>
            <pc:sldMk cId="1896424197" sldId="266"/>
            <ac:spMk id="22" creationId="{3175DD8F-C8D2-4ACF-8D76-06C61E530463}"/>
          </ac:spMkLst>
        </pc:spChg>
        <pc:spChg chg="mod">
          <ac:chgData name="Roussel, Gaetan" userId="269e9c6f-a5fe-49a6-9b6b-1c16ee3e16b1" providerId="ADAL" clId="{A43ED10B-C0D7-409E-AD3F-D6A5AE869F78}" dt="2022-06-25T14:34:58.422" v="2713" actId="165"/>
          <ac:spMkLst>
            <pc:docMk/>
            <pc:sldMk cId="1896424197" sldId="266"/>
            <ac:spMk id="23" creationId="{EDA80185-DF15-4E04-8233-E594B05EAACE}"/>
          </ac:spMkLst>
        </pc:spChg>
        <pc:spChg chg="mod">
          <ac:chgData name="Roussel, Gaetan" userId="269e9c6f-a5fe-49a6-9b6b-1c16ee3e16b1" providerId="ADAL" clId="{A43ED10B-C0D7-409E-AD3F-D6A5AE869F78}" dt="2022-06-25T14:34:58.422" v="2713" actId="165"/>
          <ac:spMkLst>
            <pc:docMk/>
            <pc:sldMk cId="1896424197" sldId="266"/>
            <ac:spMk id="24" creationId="{761FF2FB-B932-43A1-9F4B-A201B8C2129C}"/>
          </ac:spMkLst>
        </pc:spChg>
        <pc:spChg chg="mod">
          <ac:chgData name="Roussel, Gaetan" userId="269e9c6f-a5fe-49a6-9b6b-1c16ee3e16b1" providerId="ADAL" clId="{A43ED10B-C0D7-409E-AD3F-D6A5AE869F78}" dt="2022-06-25T14:34:58.422" v="2713" actId="165"/>
          <ac:spMkLst>
            <pc:docMk/>
            <pc:sldMk cId="1896424197" sldId="266"/>
            <ac:spMk id="25" creationId="{2E20CF95-128F-4A82-A8EE-F64FBBEA3C5C}"/>
          </ac:spMkLst>
        </pc:spChg>
        <pc:spChg chg="mod topLvl">
          <ac:chgData name="Roussel, Gaetan" userId="269e9c6f-a5fe-49a6-9b6b-1c16ee3e16b1" providerId="ADAL" clId="{A43ED10B-C0D7-409E-AD3F-D6A5AE869F78}" dt="2022-06-25T14:34:53.966" v="2712" actId="165"/>
          <ac:spMkLst>
            <pc:docMk/>
            <pc:sldMk cId="1896424197" sldId="266"/>
            <ac:spMk id="26" creationId="{64E8AC6A-1ABC-48CE-AC44-E38EA4856A3F}"/>
          </ac:spMkLst>
        </pc:spChg>
        <pc:spChg chg="mod topLvl">
          <ac:chgData name="Roussel, Gaetan" userId="269e9c6f-a5fe-49a6-9b6b-1c16ee3e16b1" providerId="ADAL" clId="{A43ED10B-C0D7-409E-AD3F-D6A5AE869F78}" dt="2022-06-25T14:34:53.966" v="2712" actId="165"/>
          <ac:spMkLst>
            <pc:docMk/>
            <pc:sldMk cId="1896424197" sldId="266"/>
            <ac:spMk id="27" creationId="{3296FFE7-C31F-42AC-BA96-873DB213A62D}"/>
          </ac:spMkLst>
        </pc:spChg>
        <pc:spChg chg="mod topLvl">
          <ac:chgData name="Roussel, Gaetan" userId="269e9c6f-a5fe-49a6-9b6b-1c16ee3e16b1" providerId="ADAL" clId="{A43ED10B-C0D7-409E-AD3F-D6A5AE869F78}" dt="2022-06-25T14:35:43.542" v="2715" actId="208"/>
          <ac:spMkLst>
            <pc:docMk/>
            <pc:sldMk cId="1896424197" sldId="266"/>
            <ac:spMk id="28" creationId="{0446E9E8-AAEF-4407-BC33-A76202FBF54A}"/>
          </ac:spMkLst>
        </pc:spChg>
        <pc:spChg chg="mod topLvl">
          <ac:chgData name="Roussel, Gaetan" userId="269e9c6f-a5fe-49a6-9b6b-1c16ee3e16b1" providerId="ADAL" clId="{A43ED10B-C0D7-409E-AD3F-D6A5AE869F78}" dt="2022-06-25T14:35:38.816" v="2714" actId="207"/>
          <ac:spMkLst>
            <pc:docMk/>
            <pc:sldMk cId="1896424197" sldId="266"/>
            <ac:spMk id="29" creationId="{6EE0149D-8963-4206-94CD-E1EF8FCDE084}"/>
          </ac:spMkLst>
        </pc:spChg>
        <pc:spChg chg="mod topLvl">
          <ac:chgData name="Roussel, Gaetan" userId="269e9c6f-a5fe-49a6-9b6b-1c16ee3e16b1" providerId="ADAL" clId="{A43ED10B-C0D7-409E-AD3F-D6A5AE869F78}" dt="2022-06-25T14:34:53.966" v="2712" actId="165"/>
          <ac:spMkLst>
            <pc:docMk/>
            <pc:sldMk cId="1896424197" sldId="266"/>
            <ac:spMk id="30" creationId="{20058797-752F-45F1-830B-9E93F88518D3}"/>
          </ac:spMkLst>
        </pc:spChg>
        <pc:spChg chg="mod topLvl">
          <ac:chgData name="Roussel, Gaetan" userId="269e9c6f-a5fe-49a6-9b6b-1c16ee3e16b1" providerId="ADAL" clId="{A43ED10B-C0D7-409E-AD3F-D6A5AE869F78}" dt="2022-06-25T14:34:53.966" v="2712" actId="165"/>
          <ac:spMkLst>
            <pc:docMk/>
            <pc:sldMk cId="1896424197" sldId="266"/>
            <ac:spMk id="31" creationId="{1421EB22-1632-4920-8CCF-2951FB650D9A}"/>
          </ac:spMkLst>
        </pc:spChg>
        <pc:spChg chg="mod topLvl">
          <ac:chgData name="Roussel, Gaetan" userId="269e9c6f-a5fe-49a6-9b6b-1c16ee3e16b1" providerId="ADAL" clId="{A43ED10B-C0D7-409E-AD3F-D6A5AE869F78}" dt="2022-06-25T14:34:53.966" v="2712" actId="165"/>
          <ac:spMkLst>
            <pc:docMk/>
            <pc:sldMk cId="1896424197" sldId="266"/>
            <ac:spMk id="32" creationId="{E9FA67C8-3CA6-45AC-8555-73A48F7B59AD}"/>
          </ac:spMkLst>
        </pc:spChg>
        <pc:spChg chg="mod topLvl">
          <ac:chgData name="Roussel, Gaetan" userId="269e9c6f-a5fe-49a6-9b6b-1c16ee3e16b1" providerId="ADAL" clId="{A43ED10B-C0D7-409E-AD3F-D6A5AE869F78}" dt="2022-06-25T14:34:53.966" v="2712" actId="165"/>
          <ac:spMkLst>
            <pc:docMk/>
            <pc:sldMk cId="1896424197" sldId="266"/>
            <ac:spMk id="33" creationId="{C7CA4193-8D44-4166-90EF-3E2E9CCB9053}"/>
          </ac:spMkLst>
        </pc:spChg>
        <pc:spChg chg="mod">
          <ac:chgData name="Roussel, Gaetan" userId="269e9c6f-a5fe-49a6-9b6b-1c16ee3e16b1" providerId="ADAL" clId="{A43ED10B-C0D7-409E-AD3F-D6A5AE869F78}" dt="2022-06-25T14:34:53.966" v="2712" actId="165"/>
          <ac:spMkLst>
            <pc:docMk/>
            <pc:sldMk cId="1896424197" sldId="266"/>
            <ac:spMk id="36" creationId="{57BA5FCF-7B76-4D69-97BE-93BB2A6B5C70}"/>
          </ac:spMkLst>
        </pc:spChg>
        <pc:spChg chg="mod">
          <ac:chgData name="Roussel, Gaetan" userId="269e9c6f-a5fe-49a6-9b6b-1c16ee3e16b1" providerId="ADAL" clId="{A43ED10B-C0D7-409E-AD3F-D6A5AE869F78}" dt="2022-06-25T14:34:53.966" v="2712" actId="165"/>
          <ac:spMkLst>
            <pc:docMk/>
            <pc:sldMk cId="1896424197" sldId="266"/>
            <ac:spMk id="37" creationId="{9FFA9208-9C7D-4BDD-9C7D-B18F03A97860}"/>
          </ac:spMkLst>
        </pc:spChg>
        <pc:spChg chg="mod">
          <ac:chgData name="Roussel, Gaetan" userId="269e9c6f-a5fe-49a6-9b6b-1c16ee3e16b1" providerId="ADAL" clId="{A43ED10B-C0D7-409E-AD3F-D6A5AE869F78}" dt="2022-06-25T14:34:53.966" v="2712" actId="165"/>
          <ac:spMkLst>
            <pc:docMk/>
            <pc:sldMk cId="1896424197" sldId="266"/>
            <ac:spMk id="38" creationId="{53A6A0E2-3C9C-458F-8935-6BA4105BDAFB}"/>
          </ac:spMkLst>
        </pc:spChg>
        <pc:spChg chg="mod">
          <ac:chgData name="Roussel, Gaetan" userId="269e9c6f-a5fe-49a6-9b6b-1c16ee3e16b1" providerId="ADAL" clId="{A43ED10B-C0D7-409E-AD3F-D6A5AE869F78}" dt="2022-06-25T14:34:53.966" v="2712" actId="165"/>
          <ac:spMkLst>
            <pc:docMk/>
            <pc:sldMk cId="1896424197" sldId="266"/>
            <ac:spMk id="39" creationId="{3ACAC1E9-556B-4CB9-A019-793D53285336}"/>
          </ac:spMkLst>
        </pc:spChg>
        <pc:spChg chg="mod">
          <ac:chgData name="Roussel, Gaetan" userId="269e9c6f-a5fe-49a6-9b6b-1c16ee3e16b1" providerId="ADAL" clId="{A43ED10B-C0D7-409E-AD3F-D6A5AE869F78}" dt="2022-06-25T14:34:53.966" v="2712" actId="165"/>
          <ac:spMkLst>
            <pc:docMk/>
            <pc:sldMk cId="1896424197" sldId="266"/>
            <ac:spMk id="40" creationId="{8972BCD5-2C44-4C73-A246-634406804AD3}"/>
          </ac:spMkLst>
        </pc:spChg>
        <pc:spChg chg="mod">
          <ac:chgData name="Roussel, Gaetan" userId="269e9c6f-a5fe-49a6-9b6b-1c16ee3e16b1" providerId="ADAL" clId="{A43ED10B-C0D7-409E-AD3F-D6A5AE869F78}" dt="2022-06-25T14:34:53.966" v="2712" actId="165"/>
          <ac:spMkLst>
            <pc:docMk/>
            <pc:sldMk cId="1896424197" sldId="266"/>
            <ac:spMk id="41" creationId="{D4C9B8CE-9C63-4D14-818A-CBA4C1351A34}"/>
          </ac:spMkLst>
        </pc:spChg>
        <pc:spChg chg="mod">
          <ac:chgData name="Roussel, Gaetan" userId="269e9c6f-a5fe-49a6-9b6b-1c16ee3e16b1" providerId="ADAL" clId="{A43ED10B-C0D7-409E-AD3F-D6A5AE869F78}" dt="2022-06-25T14:34:53.966" v="2712" actId="165"/>
          <ac:spMkLst>
            <pc:docMk/>
            <pc:sldMk cId="1896424197" sldId="266"/>
            <ac:spMk id="42" creationId="{0F19F065-D0A7-4A6B-B3FC-D25B0760D1D2}"/>
          </ac:spMkLst>
        </pc:spChg>
        <pc:spChg chg="mod">
          <ac:chgData name="Roussel, Gaetan" userId="269e9c6f-a5fe-49a6-9b6b-1c16ee3e16b1" providerId="ADAL" clId="{A43ED10B-C0D7-409E-AD3F-D6A5AE869F78}" dt="2022-06-25T14:34:53.966" v="2712" actId="165"/>
          <ac:spMkLst>
            <pc:docMk/>
            <pc:sldMk cId="1896424197" sldId="266"/>
            <ac:spMk id="43" creationId="{C88DE067-B7E3-4397-AA71-AD8BFE9FA604}"/>
          </ac:spMkLst>
        </pc:spChg>
        <pc:spChg chg="mod">
          <ac:chgData name="Roussel, Gaetan" userId="269e9c6f-a5fe-49a6-9b6b-1c16ee3e16b1" providerId="ADAL" clId="{A43ED10B-C0D7-409E-AD3F-D6A5AE869F78}" dt="2022-06-25T14:34:53.966" v="2712" actId="165"/>
          <ac:spMkLst>
            <pc:docMk/>
            <pc:sldMk cId="1896424197" sldId="266"/>
            <ac:spMk id="44" creationId="{380B327E-212E-4958-8EAD-F3C95A4D6A47}"/>
          </ac:spMkLst>
        </pc:spChg>
        <pc:spChg chg="mod">
          <ac:chgData name="Roussel, Gaetan" userId="269e9c6f-a5fe-49a6-9b6b-1c16ee3e16b1" providerId="ADAL" clId="{A43ED10B-C0D7-409E-AD3F-D6A5AE869F78}" dt="2022-06-25T14:34:53.966" v="2712" actId="165"/>
          <ac:spMkLst>
            <pc:docMk/>
            <pc:sldMk cId="1896424197" sldId="266"/>
            <ac:spMk id="45" creationId="{B47841C6-0CE2-4A16-930B-528AFB5C7E8F}"/>
          </ac:spMkLst>
        </pc:spChg>
        <pc:spChg chg="mod">
          <ac:chgData name="Roussel, Gaetan" userId="269e9c6f-a5fe-49a6-9b6b-1c16ee3e16b1" providerId="ADAL" clId="{A43ED10B-C0D7-409E-AD3F-D6A5AE869F78}" dt="2022-06-25T14:34:53.966" v="2712" actId="165"/>
          <ac:spMkLst>
            <pc:docMk/>
            <pc:sldMk cId="1896424197" sldId="266"/>
            <ac:spMk id="46" creationId="{8E4F27AF-82CD-4FFC-A59F-C43613117E74}"/>
          </ac:spMkLst>
        </pc:spChg>
        <pc:spChg chg="mod">
          <ac:chgData name="Roussel, Gaetan" userId="269e9c6f-a5fe-49a6-9b6b-1c16ee3e16b1" providerId="ADAL" clId="{A43ED10B-C0D7-409E-AD3F-D6A5AE869F78}" dt="2022-06-25T14:34:53.966" v="2712" actId="165"/>
          <ac:spMkLst>
            <pc:docMk/>
            <pc:sldMk cId="1896424197" sldId="266"/>
            <ac:spMk id="47" creationId="{C184C7CF-31C1-4917-867F-52762457F790}"/>
          </ac:spMkLst>
        </pc:spChg>
        <pc:spChg chg="mod">
          <ac:chgData name="Roussel, Gaetan" userId="269e9c6f-a5fe-49a6-9b6b-1c16ee3e16b1" providerId="ADAL" clId="{A43ED10B-C0D7-409E-AD3F-D6A5AE869F78}" dt="2022-06-25T14:34:53.966" v="2712" actId="165"/>
          <ac:spMkLst>
            <pc:docMk/>
            <pc:sldMk cId="1896424197" sldId="266"/>
            <ac:spMk id="48" creationId="{AF73932A-70B4-40C1-B326-B801ABE70187}"/>
          </ac:spMkLst>
        </pc:spChg>
        <pc:spChg chg="mod">
          <ac:chgData name="Roussel, Gaetan" userId="269e9c6f-a5fe-49a6-9b6b-1c16ee3e16b1" providerId="ADAL" clId="{A43ED10B-C0D7-409E-AD3F-D6A5AE869F78}" dt="2022-06-25T14:34:53.966" v="2712" actId="165"/>
          <ac:spMkLst>
            <pc:docMk/>
            <pc:sldMk cId="1896424197" sldId="266"/>
            <ac:spMk id="49" creationId="{67689233-1593-4601-84EB-A2DA18DCD76D}"/>
          </ac:spMkLst>
        </pc:spChg>
        <pc:spChg chg="mod">
          <ac:chgData name="Roussel, Gaetan" userId="269e9c6f-a5fe-49a6-9b6b-1c16ee3e16b1" providerId="ADAL" clId="{A43ED10B-C0D7-409E-AD3F-D6A5AE869F78}" dt="2022-06-25T14:34:53.966" v="2712" actId="165"/>
          <ac:spMkLst>
            <pc:docMk/>
            <pc:sldMk cId="1896424197" sldId="266"/>
            <ac:spMk id="50" creationId="{5CE39983-AF18-4AF7-BA45-FB481287524E}"/>
          </ac:spMkLst>
        </pc:spChg>
        <pc:spChg chg="mod">
          <ac:chgData name="Roussel, Gaetan" userId="269e9c6f-a5fe-49a6-9b6b-1c16ee3e16b1" providerId="ADAL" clId="{A43ED10B-C0D7-409E-AD3F-D6A5AE869F78}" dt="2022-06-25T14:34:53.966" v="2712" actId="165"/>
          <ac:spMkLst>
            <pc:docMk/>
            <pc:sldMk cId="1896424197" sldId="266"/>
            <ac:spMk id="51" creationId="{148C5D87-23AD-4436-8208-9E696C3896D1}"/>
          </ac:spMkLst>
        </pc:spChg>
        <pc:spChg chg="mod">
          <ac:chgData name="Roussel, Gaetan" userId="269e9c6f-a5fe-49a6-9b6b-1c16ee3e16b1" providerId="ADAL" clId="{A43ED10B-C0D7-409E-AD3F-D6A5AE869F78}" dt="2022-06-25T14:34:53.966" v="2712" actId="165"/>
          <ac:spMkLst>
            <pc:docMk/>
            <pc:sldMk cId="1896424197" sldId="266"/>
            <ac:spMk id="52" creationId="{C1670697-0C6E-42C3-A21E-7E684A09F9A4}"/>
          </ac:spMkLst>
        </pc:spChg>
        <pc:spChg chg="mod">
          <ac:chgData name="Roussel, Gaetan" userId="269e9c6f-a5fe-49a6-9b6b-1c16ee3e16b1" providerId="ADAL" clId="{A43ED10B-C0D7-409E-AD3F-D6A5AE869F78}" dt="2022-06-25T14:34:53.966" v="2712" actId="165"/>
          <ac:spMkLst>
            <pc:docMk/>
            <pc:sldMk cId="1896424197" sldId="266"/>
            <ac:spMk id="53" creationId="{C53DEB20-F1D3-4AC2-9949-BEE856C94C88}"/>
          </ac:spMkLst>
        </pc:spChg>
        <pc:spChg chg="mod">
          <ac:chgData name="Roussel, Gaetan" userId="269e9c6f-a5fe-49a6-9b6b-1c16ee3e16b1" providerId="ADAL" clId="{A43ED10B-C0D7-409E-AD3F-D6A5AE869F78}" dt="2022-06-25T14:34:53.966" v="2712" actId="165"/>
          <ac:spMkLst>
            <pc:docMk/>
            <pc:sldMk cId="1896424197" sldId="266"/>
            <ac:spMk id="54" creationId="{CFE95C51-D280-46BD-BEA0-889E4E23FAAB}"/>
          </ac:spMkLst>
        </pc:spChg>
        <pc:spChg chg="mod">
          <ac:chgData name="Roussel, Gaetan" userId="269e9c6f-a5fe-49a6-9b6b-1c16ee3e16b1" providerId="ADAL" clId="{A43ED10B-C0D7-409E-AD3F-D6A5AE869F78}" dt="2022-06-25T14:34:53.966" v="2712" actId="165"/>
          <ac:spMkLst>
            <pc:docMk/>
            <pc:sldMk cId="1896424197" sldId="266"/>
            <ac:spMk id="55" creationId="{FD0BCD9E-5119-455A-A942-7F3E259CBBF7}"/>
          </ac:spMkLst>
        </pc:spChg>
        <pc:spChg chg="mod">
          <ac:chgData name="Roussel, Gaetan" userId="269e9c6f-a5fe-49a6-9b6b-1c16ee3e16b1" providerId="ADAL" clId="{A43ED10B-C0D7-409E-AD3F-D6A5AE869F78}" dt="2022-06-25T14:34:53.966" v="2712" actId="165"/>
          <ac:spMkLst>
            <pc:docMk/>
            <pc:sldMk cId="1896424197" sldId="266"/>
            <ac:spMk id="56" creationId="{558F512B-B2F3-40D9-90B8-28DA12B62FB4}"/>
          </ac:spMkLst>
        </pc:spChg>
        <pc:spChg chg="mod">
          <ac:chgData name="Roussel, Gaetan" userId="269e9c6f-a5fe-49a6-9b6b-1c16ee3e16b1" providerId="ADAL" clId="{A43ED10B-C0D7-409E-AD3F-D6A5AE869F78}" dt="2022-06-25T14:34:53.966" v="2712" actId="165"/>
          <ac:spMkLst>
            <pc:docMk/>
            <pc:sldMk cId="1896424197" sldId="266"/>
            <ac:spMk id="57" creationId="{848CF4DC-DD60-48C3-89FE-1A6C73A1A351}"/>
          </ac:spMkLst>
        </pc:spChg>
        <pc:spChg chg="mod">
          <ac:chgData name="Roussel, Gaetan" userId="269e9c6f-a5fe-49a6-9b6b-1c16ee3e16b1" providerId="ADAL" clId="{A43ED10B-C0D7-409E-AD3F-D6A5AE869F78}" dt="2022-06-25T14:34:53.966" v="2712" actId="165"/>
          <ac:spMkLst>
            <pc:docMk/>
            <pc:sldMk cId="1896424197" sldId="266"/>
            <ac:spMk id="58" creationId="{61C34B9C-8FC0-474B-B2EA-855F1F72CF73}"/>
          </ac:spMkLst>
        </pc:spChg>
        <pc:spChg chg="mod">
          <ac:chgData name="Roussel, Gaetan" userId="269e9c6f-a5fe-49a6-9b6b-1c16ee3e16b1" providerId="ADAL" clId="{A43ED10B-C0D7-409E-AD3F-D6A5AE869F78}" dt="2022-06-25T14:34:53.966" v="2712" actId="165"/>
          <ac:spMkLst>
            <pc:docMk/>
            <pc:sldMk cId="1896424197" sldId="266"/>
            <ac:spMk id="59" creationId="{311CBDB6-514E-4B76-B053-4C69A66C9C76}"/>
          </ac:spMkLst>
        </pc:spChg>
        <pc:spChg chg="add mod">
          <ac:chgData name="Roussel, Gaetan" userId="269e9c6f-a5fe-49a6-9b6b-1c16ee3e16b1" providerId="ADAL" clId="{A43ED10B-C0D7-409E-AD3F-D6A5AE869F78}" dt="2022-06-30T08:17:38.732" v="11220" actId="20577"/>
          <ac:spMkLst>
            <pc:docMk/>
            <pc:sldMk cId="1896424197" sldId="266"/>
            <ac:spMk id="60" creationId="{6DB94895-CC2F-4F1D-8164-993E0F18F2AF}"/>
          </ac:spMkLst>
        </pc:spChg>
        <pc:spChg chg="add mod">
          <ac:chgData name="Roussel, Gaetan" userId="269e9c6f-a5fe-49a6-9b6b-1c16ee3e16b1" providerId="ADAL" clId="{A43ED10B-C0D7-409E-AD3F-D6A5AE869F78}" dt="2022-06-30T08:53:50.590" v="11633"/>
          <ac:spMkLst>
            <pc:docMk/>
            <pc:sldMk cId="1896424197" sldId="266"/>
            <ac:spMk id="61" creationId="{26E5F018-F2F7-4B62-9895-320DA66A9A10}"/>
          </ac:spMkLst>
        </pc:spChg>
        <pc:grpChg chg="add mod">
          <ac:chgData name="Roussel, Gaetan" userId="269e9c6f-a5fe-49a6-9b6b-1c16ee3e16b1" providerId="ADAL" clId="{A43ED10B-C0D7-409E-AD3F-D6A5AE869F78}" dt="2022-06-24T15:32:59.242" v="411"/>
          <ac:grpSpMkLst>
            <pc:docMk/>
            <pc:sldMk cId="1896424197" sldId="266"/>
            <ac:grpSpMk id="4" creationId="{4A8E1505-8778-4608-9DEE-742CAD5C9EA1}"/>
          </ac:grpSpMkLst>
        </pc:grpChg>
        <pc:grpChg chg="add del mod">
          <ac:chgData name="Roussel, Gaetan" userId="269e9c6f-a5fe-49a6-9b6b-1c16ee3e16b1" providerId="ADAL" clId="{A43ED10B-C0D7-409E-AD3F-D6A5AE869F78}" dt="2022-06-25T14:34:51.438" v="2711" actId="165"/>
          <ac:grpSpMkLst>
            <pc:docMk/>
            <pc:sldMk cId="1896424197" sldId="266"/>
            <ac:grpSpMk id="9" creationId="{A504D350-AFA3-4918-86EB-ACC2A90415EE}"/>
          </ac:grpSpMkLst>
        </pc:grpChg>
        <pc:grpChg chg="del mod topLvl">
          <ac:chgData name="Roussel, Gaetan" userId="269e9c6f-a5fe-49a6-9b6b-1c16ee3e16b1" providerId="ADAL" clId="{A43ED10B-C0D7-409E-AD3F-D6A5AE869F78}" dt="2022-06-25T14:34:53.966" v="2712" actId="165"/>
          <ac:grpSpMkLst>
            <pc:docMk/>
            <pc:sldMk cId="1896424197" sldId="266"/>
            <ac:grpSpMk id="10" creationId="{FE7E1B53-AD96-4F10-879A-D19AE67FF59D}"/>
          </ac:grpSpMkLst>
        </pc:grpChg>
        <pc:grpChg chg="del mod topLvl">
          <ac:chgData name="Roussel, Gaetan" userId="269e9c6f-a5fe-49a6-9b6b-1c16ee3e16b1" providerId="ADAL" clId="{A43ED10B-C0D7-409E-AD3F-D6A5AE869F78}" dt="2022-06-25T14:34:58.422" v="2713" actId="165"/>
          <ac:grpSpMkLst>
            <pc:docMk/>
            <pc:sldMk cId="1896424197" sldId="266"/>
            <ac:grpSpMk id="11" creationId="{B69FBF05-BA04-452E-AC46-21FC89AFE4F6}"/>
          </ac:grpSpMkLst>
        </pc:grpChg>
        <pc:grpChg chg="mod topLvl">
          <ac:chgData name="Roussel, Gaetan" userId="269e9c6f-a5fe-49a6-9b6b-1c16ee3e16b1" providerId="ADAL" clId="{A43ED10B-C0D7-409E-AD3F-D6A5AE869F78}" dt="2022-06-25T14:34:58.422" v="2713" actId="165"/>
          <ac:grpSpMkLst>
            <pc:docMk/>
            <pc:sldMk cId="1896424197" sldId="266"/>
            <ac:grpSpMk id="21" creationId="{EBACFA7B-BAF3-4C84-B11C-1BE76005E7B6}"/>
          </ac:grpSpMkLst>
        </pc:grpChg>
        <pc:grpChg chg="mod topLvl">
          <ac:chgData name="Roussel, Gaetan" userId="269e9c6f-a5fe-49a6-9b6b-1c16ee3e16b1" providerId="ADAL" clId="{A43ED10B-C0D7-409E-AD3F-D6A5AE869F78}" dt="2022-06-25T14:34:53.966" v="2712" actId="165"/>
          <ac:grpSpMkLst>
            <pc:docMk/>
            <pc:sldMk cId="1896424197" sldId="266"/>
            <ac:grpSpMk id="34" creationId="{C3D60243-EAD5-4304-A214-204A5EF5A366}"/>
          </ac:grpSpMkLst>
        </pc:grpChg>
        <pc:grpChg chg="mod topLvl">
          <ac:chgData name="Roussel, Gaetan" userId="269e9c6f-a5fe-49a6-9b6b-1c16ee3e16b1" providerId="ADAL" clId="{A43ED10B-C0D7-409E-AD3F-D6A5AE869F78}" dt="2022-06-25T14:34:53.966" v="2712" actId="165"/>
          <ac:grpSpMkLst>
            <pc:docMk/>
            <pc:sldMk cId="1896424197" sldId="266"/>
            <ac:grpSpMk id="35" creationId="{0825816E-4A38-43B6-81D7-42137176D04D}"/>
          </ac:grpSpMkLst>
        </pc:grpChg>
        <pc:picChg chg="mod">
          <ac:chgData name="Roussel, Gaetan" userId="269e9c6f-a5fe-49a6-9b6b-1c16ee3e16b1" providerId="ADAL" clId="{A43ED10B-C0D7-409E-AD3F-D6A5AE869F78}" dt="2022-06-24T15:32:59.242" v="411"/>
          <ac:picMkLst>
            <pc:docMk/>
            <pc:sldMk cId="1896424197" sldId="266"/>
            <ac:picMk id="6" creationId="{DDBB5A02-5E4E-44CF-AA33-B4A1C8417BFF}"/>
          </ac:picMkLst>
        </pc:picChg>
        <pc:picChg chg="mod">
          <ac:chgData name="Roussel, Gaetan" userId="269e9c6f-a5fe-49a6-9b6b-1c16ee3e16b1" providerId="ADAL" clId="{A43ED10B-C0D7-409E-AD3F-D6A5AE869F78}" dt="2022-06-24T15:32:59.242" v="411"/>
          <ac:picMkLst>
            <pc:docMk/>
            <pc:sldMk cId="1896424197" sldId="266"/>
            <ac:picMk id="7" creationId="{1FEACEBC-A77F-4C47-92CD-964262804DF5}"/>
          </ac:picMkLst>
        </pc:picChg>
      </pc:sldChg>
      <pc:sldChg chg="addSp delSp modSp new del mod ord">
        <pc:chgData name="Roussel, Gaetan" userId="269e9c6f-a5fe-49a6-9b6b-1c16ee3e16b1" providerId="ADAL" clId="{A43ED10B-C0D7-409E-AD3F-D6A5AE869F78}" dt="2022-06-27T18:01:40.079" v="8552" actId="47"/>
        <pc:sldMkLst>
          <pc:docMk/>
          <pc:sldMk cId="4157123775" sldId="267"/>
        </pc:sldMkLst>
        <pc:spChg chg="del">
          <ac:chgData name="Roussel, Gaetan" userId="269e9c6f-a5fe-49a6-9b6b-1c16ee3e16b1" providerId="ADAL" clId="{A43ED10B-C0D7-409E-AD3F-D6A5AE869F78}" dt="2022-06-27T13:22:57.155" v="7468" actId="478"/>
          <ac:spMkLst>
            <pc:docMk/>
            <pc:sldMk cId="4157123775" sldId="267"/>
            <ac:spMk id="2" creationId="{448EA35F-910B-4481-8F6E-6CD28753F745}"/>
          </ac:spMkLst>
        </pc:spChg>
        <pc:spChg chg="del">
          <ac:chgData name="Roussel, Gaetan" userId="269e9c6f-a5fe-49a6-9b6b-1c16ee3e16b1" providerId="ADAL" clId="{A43ED10B-C0D7-409E-AD3F-D6A5AE869F78}" dt="2022-06-27T13:21:46.401" v="7463" actId="478"/>
          <ac:spMkLst>
            <pc:docMk/>
            <pc:sldMk cId="4157123775" sldId="267"/>
            <ac:spMk id="3" creationId="{1414CC85-B6C8-4353-B4D8-619C1B4E067A}"/>
          </ac:spMkLst>
        </pc:spChg>
        <pc:spChg chg="del">
          <ac:chgData name="Roussel, Gaetan" userId="269e9c6f-a5fe-49a6-9b6b-1c16ee3e16b1" providerId="ADAL" clId="{A43ED10B-C0D7-409E-AD3F-D6A5AE869F78}" dt="2022-06-27T13:21:49.284" v="7464" actId="478"/>
          <ac:spMkLst>
            <pc:docMk/>
            <pc:sldMk cId="4157123775" sldId="267"/>
            <ac:spMk id="4" creationId="{978F5C8D-14AE-4AB3-8009-34665F13A764}"/>
          </ac:spMkLst>
        </pc:spChg>
        <pc:spChg chg="del">
          <ac:chgData name="Roussel, Gaetan" userId="269e9c6f-a5fe-49a6-9b6b-1c16ee3e16b1" providerId="ADAL" clId="{A43ED10B-C0D7-409E-AD3F-D6A5AE869F78}" dt="2022-06-27T13:22:55.490" v="7467" actId="478"/>
          <ac:spMkLst>
            <pc:docMk/>
            <pc:sldMk cId="4157123775" sldId="267"/>
            <ac:spMk id="5" creationId="{4B59510D-2EC3-4048-8CD7-BE728B6D4160}"/>
          </ac:spMkLst>
        </pc:spChg>
        <pc:spChg chg="mod">
          <ac:chgData name="Roussel, Gaetan" userId="269e9c6f-a5fe-49a6-9b6b-1c16ee3e16b1" providerId="ADAL" clId="{A43ED10B-C0D7-409E-AD3F-D6A5AE869F78}" dt="2022-06-27T13:23:13.016" v="7472" actId="1076"/>
          <ac:spMkLst>
            <pc:docMk/>
            <pc:sldMk cId="4157123775" sldId="267"/>
            <ac:spMk id="7" creationId="{8DE00A7A-32B0-4715-9940-684D98759AA0}"/>
          </ac:spMkLst>
        </pc:spChg>
        <pc:spChg chg="add mod">
          <ac:chgData name="Roussel, Gaetan" userId="269e9c6f-a5fe-49a6-9b6b-1c16ee3e16b1" providerId="ADAL" clId="{A43ED10B-C0D7-409E-AD3F-D6A5AE869F78}" dt="2022-06-27T13:23:25.164" v="7475" actId="207"/>
          <ac:spMkLst>
            <pc:docMk/>
            <pc:sldMk cId="4157123775" sldId="267"/>
            <ac:spMk id="10" creationId="{474E20EB-DB08-413B-AB64-48FE341AC24C}"/>
          </ac:spMkLst>
        </pc:spChg>
        <pc:spChg chg="mod">
          <ac:chgData name="Roussel, Gaetan" userId="269e9c6f-a5fe-49a6-9b6b-1c16ee3e16b1" providerId="ADAL" clId="{A43ED10B-C0D7-409E-AD3F-D6A5AE869F78}" dt="2022-06-27T13:23:26.748" v="7476"/>
          <ac:spMkLst>
            <pc:docMk/>
            <pc:sldMk cId="4157123775" sldId="267"/>
            <ac:spMk id="12" creationId="{C44C8D10-9FB2-451C-939F-83DFAF8D4926}"/>
          </ac:spMkLst>
        </pc:spChg>
        <pc:spChg chg="add mod">
          <ac:chgData name="Roussel, Gaetan" userId="269e9c6f-a5fe-49a6-9b6b-1c16ee3e16b1" providerId="ADAL" clId="{A43ED10B-C0D7-409E-AD3F-D6A5AE869F78}" dt="2022-06-27T13:23:32.629" v="7477"/>
          <ac:spMkLst>
            <pc:docMk/>
            <pc:sldMk cId="4157123775" sldId="267"/>
            <ac:spMk id="15" creationId="{1F5DC2DF-D24B-4854-817B-30C8D21651E8}"/>
          </ac:spMkLst>
        </pc:spChg>
        <pc:spChg chg="add mod">
          <ac:chgData name="Roussel, Gaetan" userId="269e9c6f-a5fe-49a6-9b6b-1c16ee3e16b1" providerId="ADAL" clId="{A43ED10B-C0D7-409E-AD3F-D6A5AE869F78}" dt="2022-06-27T13:24:07.418" v="7507" actId="207"/>
          <ac:spMkLst>
            <pc:docMk/>
            <pc:sldMk cId="4157123775" sldId="267"/>
            <ac:spMk id="16" creationId="{C93ADCE7-6B9F-48FE-BF26-77CA96D93431}"/>
          </ac:spMkLst>
        </pc:spChg>
        <pc:grpChg chg="add del mod">
          <ac:chgData name="Roussel, Gaetan" userId="269e9c6f-a5fe-49a6-9b6b-1c16ee3e16b1" providerId="ADAL" clId="{A43ED10B-C0D7-409E-AD3F-D6A5AE869F78}" dt="2022-06-27T13:23:13.994" v="7473" actId="478"/>
          <ac:grpSpMkLst>
            <pc:docMk/>
            <pc:sldMk cId="4157123775" sldId="267"/>
            <ac:grpSpMk id="6" creationId="{03594862-1861-4A37-85B9-BA43DA78AA8D}"/>
          </ac:grpSpMkLst>
        </pc:grpChg>
        <pc:grpChg chg="add mod">
          <ac:chgData name="Roussel, Gaetan" userId="269e9c6f-a5fe-49a6-9b6b-1c16ee3e16b1" providerId="ADAL" clId="{A43ED10B-C0D7-409E-AD3F-D6A5AE869F78}" dt="2022-06-27T13:23:26.748" v="7476"/>
          <ac:grpSpMkLst>
            <pc:docMk/>
            <pc:sldMk cId="4157123775" sldId="267"/>
            <ac:grpSpMk id="11" creationId="{605A0743-173E-4F26-BBCE-0ACFFA97FBE3}"/>
          </ac:grpSpMkLst>
        </pc:grpChg>
        <pc:picChg chg="mod">
          <ac:chgData name="Roussel, Gaetan" userId="269e9c6f-a5fe-49a6-9b6b-1c16ee3e16b1" providerId="ADAL" clId="{A43ED10B-C0D7-409E-AD3F-D6A5AE869F78}" dt="2022-06-27T13:23:13.016" v="7472" actId="1076"/>
          <ac:picMkLst>
            <pc:docMk/>
            <pc:sldMk cId="4157123775" sldId="267"/>
            <ac:picMk id="8" creationId="{881A1E8F-630D-4E64-88B4-07D4D0B66B62}"/>
          </ac:picMkLst>
        </pc:picChg>
        <pc:picChg chg="mod">
          <ac:chgData name="Roussel, Gaetan" userId="269e9c6f-a5fe-49a6-9b6b-1c16ee3e16b1" providerId="ADAL" clId="{A43ED10B-C0D7-409E-AD3F-D6A5AE869F78}" dt="2022-06-27T13:23:13.016" v="7472" actId="1076"/>
          <ac:picMkLst>
            <pc:docMk/>
            <pc:sldMk cId="4157123775" sldId="267"/>
            <ac:picMk id="9" creationId="{F96509EA-4DF2-4AA3-BFFE-246E684A824D}"/>
          </ac:picMkLst>
        </pc:picChg>
        <pc:picChg chg="mod">
          <ac:chgData name="Roussel, Gaetan" userId="269e9c6f-a5fe-49a6-9b6b-1c16ee3e16b1" providerId="ADAL" clId="{A43ED10B-C0D7-409E-AD3F-D6A5AE869F78}" dt="2022-06-27T13:23:26.748" v="7476"/>
          <ac:picMkLst>
            <pc:docMk/>
            <pc:sldMk cId="4157123775" sldId="267"/>
            <ac:picMk id="13" creationId="{339C26F3-6B30-44C5-8DFD-1E46EE1D3039}"/>
          </ac:picMkLst>
        </pc:picChg>
        <pc:picChg chg="mod">
          <ac:chgData name="Roussel, Gaetan" userId="269e9c6f-a5fe-49a6-9b6b-1c16ee3e16b1" providerId="ADAL" clId="{A43ED10B-C0D7-409E-AD3F-D6A5AE869F78}" dt="2022-06-27T13:23:26.748" v="7476"/>
          <ac:picMkLst>
            <pc:docMk/>
            <pc:sldMk cId="4157123775" sldId="267"/>
            <ac:picMk id="14" creationId="{9204AD51-4348-42BA-8791-A0DBBE47E855}"/>
          </ac:picMkLst>
        </pc:picChg>
      </pc:sldChg>
      <pc:sldChg chg="addSp delSp modSp new del mod">
        <pc:chgData name="Roussel, Gaetan" userId="269e9c6f-a5fe-49a6-9b6b-1c16ee3e16b1" providerId="ADAL" clId="{A43ED10B-C0D7-409E-AD3F-D6A5AE869F78}" dt="2022-06-27T12:27:58.065" v="6965" actId="2696"/>
        <pc:sldMkLst>
          <pc:docMk/>
          <pc:sldMk cId="2453481021" sldId="268"/>
        </pc:sldMkLst>
        <pc:spChg chg="del">
          <ac:chgData name="Roussel, Gaetan" userId="269e9c6f-a5fe-49a6-9b6b-1c16ee3e16b1" providerId="ADAL" clId="{A43ED10B-C0D7-409E-AD3F-D6A5AE869F78}" dt="2022-06-25T13:40:25.991" v="1517" actId="478"/>
          <ac:spMkLst>
            <pc:docMk/>
            <pc:sldMk cId="2453481021" sldId="268"/>
            <ac:spMk id="2" creationId="{999DE3CE-0288-4DD9-8D95-FA8BF9F9491F}"/>
          </ac:spMkLst>
        </pc:spChg>
        <pc:spChg chg="del">
          <ac:chgData name="Roussel, Gaetan" userId="269e9c6f-a5fe-49a6-9b6b-1c16ee3e16b1" providerId="ADAL" clId="{A43ED10B-C0D7-409E-AD3F-D6A5AE869F78}" dt="2022-06-25T13:40:25.233" v="1516" actId="478"/>
          <ac:spMkLst>
            <pc:docMk/>
            <pc:sldMk cId="2453481021" sldId="268"/>
            <ac:spMk id="3" creationId="{D780DCC1-2C36-4B20-917B-8B5955A54DB1}"/>
          </ac:spMkLst>
        </pc:spChg>
        <pc:spChg chg="mod">
          <ac:chgData name="Roussel, Gaetan" userId="269e9c6f-a5fe-49a6-9b6b-1c16ee3e16b1" providerId="ADAL" clId="{A43ED10B-C0D7-409E-AD3F-D6A5AE869F78}" dt="2022-06-25T13:40:22.705" v="1515"/>
          <ac:spMkLst>
            <pc:docMk/>
            <pc:sldMk cId="2453481021" sldId="268"/>
            <ac:spMk id="5" creationId="{72DDD188-014D-4730-93B3-FDCBA15B8929}"/>
          </ac:spMkLst>
        </pc:spChg>
        <pc:spChg chg="add mod">
          <ac:chgData name="Roussel, Gaetan" userId="269e9c6f-a5fe-49a6-9b6b-1c16ee3e16b1" providerId="ADAL" clId="{A43ED10B-C0D7-409E-AD3F-D6A5AE869F78}" dt="2022-06-25T13:40:22.705" v="1515"/>
          <ac:spMkLst>
            <pc:docMk/>
            <pc:sldMk cId="2453481021" sldId="268"/>
            <ac:spMk id="8" creationId="{E0DACD50-86BF-439C-9CCA-84C2866571E5}"/>
          </ac:spMkLst>
        </pc:spChg>
        <pc:spChg chg="add del mod">
          <ac:chgData name="Roussel, Gaetan" userId="269e9c6f-a5fe-49a6-9b6b-1c16ee3e16b1" providerId="ADAL" clId="{A43ED10B-C0D7-409E-AD3F-D6A5AE869F78}" dt="2022-06-25T13:50:52.501" v="1520" actId="478"/>
          <ac:spMkLst>
            <pc:docMk/>
            <pc:sldMk cId="2453481021" sldId="268"/>
            <ac:spMk id="9" creationId="{6883327A-3D91-445A-A9A3-4242B6543A47}"/>
          </ac:spMkLst>
        </pc:spChg>
        <pc:grpChg chg="add mod">
          <ac:chgData name="Roussel, Gaetan" userId="269e9c6f-a5fe-49a6-9b6b-1c16ee3e16b1" providerId="ADAL" clId="{A43ED10B-C0D7-409E-AD3F-D6A5AE869F78}" dt="2022-06-25T13:40:22.705" v="1515"/>
          <ac:grpSpMkLst>
            <pc:docMk/>
            <pc:sldMk cId="2453481021" sldId="268"/>
            <ac:grpSpMk id="4" creationId="{9F6C2234-3ED2-4A3F-AED6-0FA01B66BB87}"/>
          </ac:grpSpMkLst>
        </pc:grpChg>
        <pc:graphicFrameChg chg="add mod modGraphic">
          <ac:chgData name="Roussel, Gaetan" userId="269e9c6f-a5fe-49a6-9b6b-1c16ee3e16b1" providerId="ADAL" clId="{A43ED10B-C0D7-409E-AD3F-D6A5AE869F78}" dt="2022-06-25T14:27:37.647" v="2622" actId="113"/>
          <ac:graphicFrameMkLst>
            <pc:docMk/>
            <pc:sldMk cId="2453481021" sldId="268"/>
            <ac:graphicFrameMk id="10" creationId="{F0A64F39-682B-4F10-BB20-98D56AEBC092}"/>
          </ac:graphicFrameMkLst>
        </pc:graphicFrameChg>
        <pc:picChg chg="mod">
          <ac:chgData name="Roussel, Gaetan" userId="269e9c6f-a5fe-49a6-9b6b-1c16ee3e16b1" providerId="ADAL" clId="{A43ED10B-C0D7-409E-AD3F-D6A5AE869F78}" dt="2022-06-25T13:40:22.705" v="1515"/>
          <ac:picMkLst>
            <pc:docMk/>
            <pc:sldMk cId="2453481021" sldId="268"/>
            <ac:picMk id="6" creationId="{97CA6F85-A838-40A3-BBAD-924CCE53C841}"/>
          </ac:picMkLst>
        </pc:picChg>
        <pc:picChg chg="mod">
          <ac:chgData name="Roussel, Gaetan" userId="269e9c6f-a5fe-49a6-9b6b-1c16ee3e16b1" providerId="ADAL" clId="{A43ED10B-C0D7-409E-AD3F-D6A5AE869F78}" dt="2022-06-25T13:40:22.705" v="1515"/>
          <ac:picMkLst>
            <pc:docMk/>
            <pc:sldMk cId="2453481021" sldId="268"/>
            <ac:picMk id="7" creationId="{8BE8073F-67E7-4B1A-A54A-8194D14485CD}"/>
          </ac:picMkLst>
        </pc:picChg>
      </pc:sldChg>
      <pc:sldChg chg="addSp delSp modSp new add del mod">
        <pc:chgData name="Roussel, Gaetan" userId="269e9c6f-a5fe-49a6-9b6b-1c16ee3e16b1" providerId="ADAL" clId="{A43ED10B-C0D7-409E-AD3F-D6A5AE869F78}" dt="2022-06-30T08:51:50.222" v="11603" actId="20577"/>
        <pc:sldMkLst>
          <pc:docMk/>
          <pc:sldMk cId="99050275" sldId="269"/>
        </pc:sldMkLst>
        <pc:spChg chg="del">
          <ac:chgData name="Roussel, Gaetan" userId="269e9c6f-a5fe-49a6-9b6b-1c16ee3e16b1" providerId="ADAL" clId="{A43ED10B-C0D7-409E-AD3F-D6A5AE869F78}" dt="2022-06-25T15:37:34.532" v="2740" actId="478"/>
          <ac:spMkLst>
            <pc:docMk/>
            <pc:sldMk cId="99050275" sldId="269"/>
            <ac:spMk id="2" creationId="{5AEAAF9C-F5B7-43F5-B341-060A90B74910}"/>
          </ac:spMkLst>
        </pc:spChg>
        <pc:spChg chg="del">
          <ac:chgData name="Roussel, Gaetan" userId="269e9c6f-a5fe-49a6-9b6b-1c16ee3e16b1" providerId="ADAL" clId="{A43ED10B-C0D7-409E-AD3F-D6A5AE869F78}" dt="2022-06-25T15:37:33.884" v="2739" actId="478"/>
          <ac:spMkLst>
            <pc:docMk/>
            <pc:sldMk cId="99050275" sldId="269"/>
            <ac:spMk id="3" creationId="{00782D72-A317-4150-9C07-86D6927CCF24}"/>
          </ac:spMkLst>
        </pc:spChg>
        <pc:spChg chg="add del mod">
          <ac:chgData name="Roussel, Gaetan" userId="269e9c6f-a5fe-49a6-9b6b-1c16ee3e16b1" providerId="ADAL" clId="{A43ED10B-C0D7-409E-AD3F-D6A5AE869F78}" dt="2022-06-26T13:13:51.509" v="5200" actId="478"/>
          <ac:spMkLst>
            <pc:docMk/>
            <pc:sldMk cId="99050275" sldId="269"/>
            <ac:spMk id="4" creationId="{1C86CE1C-3469-423C-8B12-1E1032CD040E}"/>
          </ac:spMkLst>
        </pc:spChg>
        <pc:spChg chg="add del mod">
          <ac:chgData name="Roussel, Gaetan" userId="269e9c6f-a5fe-49a6-9b6b-1c16ee3e16b1" providerId="ADAL" clId="{A43ED10B-C0D7-409E-AD3F-D6A5AE869F78}" dt="2022-06-26T13:13:51.509" v="5200" actId="478"/>
          <ac:spMkLst>
            <pc:docMk/>
            <pc:sldMk cId="99050275" sldId="269"/>
            <ac:spMk id="5" creationId="{FCED598B-F88F-4CD0-ADE1-C0E859C5F906}"/>
          </ac:spMkLst>
        </pc:spChg>
        <pc:spChg chg="add del mod">
          <ac:chgData name="Roussel, Gaetan" userId="269e9c6f-a5fe-49a6-9b6b-1c16ee3e16b1" providerId="ADAL" clId="{A43ED10B-C0D7-409E-AD3F-D6A5AE869F78}" dt="2022-06-26T13:13:51.509" v="5200" actId="478"/>
          <ac:spMkLst>
            <pc:docMk/>
            <pc:sldMk cId="99050275" sldId="269"/>
            <ac:spMk id="6" creationId="{8C2B3165-C387-455E-B768-96F0AC840680}"/>
          </ac:spMkLst>
        </pc:spChg>
        <pc:spChg chg="add del mod">
          <ac:chgData name="Roussel, Gaetan" userId="269e9c6f-a5fe-49a6-9b6b-1c16ee3e16b1" providerId="ADAL" clId="{A43ED10B-C0D7-409E-AD3F-D6A5AE869F78}" dt="2022-06-26T13:13:51.509" v="5200" actId="478"/>
          <ac:spMkLst>
            <pc:docMk/>
            <pc:sldMk cId="99050275" sldId="269"/>
            <ac:spMk id="7" creationId="{AFC3296D-D627-45DA-B110-2D2E79D4096F}"/>
          </ac:spMkLst>
        </pc:spChg>
        <pc:spChg chg="add del mod">
          <ac:chgData name="Roussel, Gaetan" userId="269e9c6f-a5fe-49a6-9b6b-1c16ee3e16b1" providerId="ADAL" clId="{A43ED10B-C0D7-409E-AD3F-D6A5AE869F78}" dt="2022-06-26T13:13:51.509" v="5200" actId="478"/>
          <ac:spMkLst>
            <pc:docMk/>
            <pc:sldMk cId="99050275" sldId="269"/>
            <ac:spMk id="8" creationId="{CD82DE3F-AA7A-4B4F-AF95-4A173895836B}"/>
          </ac:spMkLst>
        </pc:spChg>
        <pc:spChg chg="add del mod">
          <ac:chgData name="Roussel, Gaetan" userId="269e9c6f-a5fe-49a6-9b6b-1c16ee3e16b1" providerId="ADAL" clId="{A43ED10B-C0D7-409E-AD3F-D6A5AE869F78}" dt="2022-06-26T13:13:51.509" v="5200" actId="478"/>
          <ac:spMkLst>
            <pc:docMk/>
            <pc:sldMk cId="99050275" sldId="269"/>
            <ac:spMk id="9" creationId="{0C86B160-AEED-471E-9DC8-0946AD43F7DF}"/>
          </ac:spMkLst>
        </pc:spChg>
        <pc:spChg chg="add del mod">
          <ac:chgData name="Roussel, Gaetan" userId="269e9c6f-a5fe-49a6-9b6b-1c16ee3e16b1" providerId="ADAL" clId="{A43ED10B-C0D7-409E-AD3F-D6A5AE869F78}" dt="2022-06-26T13:13:51.509" v="5200" actId="478"/>
          <ac:spMkLst>
            <pc:docMk/>
            <pc:sldMk cId="99050275" sldId="269"/>
            <ac:spMk id="10" creationId="{6C1F2E8F-C955-4795-97A5-92A0DF41A27E}"/>
          </ac:spMkLst>
        </pc:spChg>
        <pc:spChg chg="add del mod">
          <ac:chgData name="Roussel, Gaetan" userId="269e9c6f-a5fe-49a6-9b6b-1c16ee3e16b1" providerId="ADAL" clId="{A43ED10B-C0D7-409E-AD3F-D6A5AE869F78}" dt="2022-06-26T13:13:51.509" v="5200" actId="478"/>
          <ac:spMkLst>
            <pc:docMk/>
            <pc:sldMk cId="99050275" sldId="269"/>
            <ac:spMk id="11" creationId="{D5671F1A-13AE-4B4B-9853-3BE5BBB64D79}"/>
          </ac:spMkLst>
        </pc:spChg>
        <pc:spChg chg="add del mod">
          <ac:chgData name="Roussel, Gaetan" userId="269e9c6f-a5fe-49a6-9b6b-1c16ee3e16b1" providerId="ADAL" clId="{A43ED10B-C0D7-409E-AD3F-D6A5AE869F78}" dt="2022-06-26T13:13:51.509" v="5200" actId="478"/>
          <ac:spMkLst>
            <pc:docMk/>
            <pc:sldMk cId="99050275" sldId="269"/>
            <ac:spMk id="12" creationId="{E482A221-D22B-4B86-BF84-F7C2ADA60EFC}"/>
          </ac:spMkLst>
        </pc:spChg>
        <pc:spChg chg="add del mod">
          <ac:chgData name="Roussel, Gaetan" userId="269e9c6f-a5fe-49a6-9b6b-1c16ee3e16b1" providerId="ADAL" clId="{A43ED10B-C0D7-409E-AD3F-D6A5AE869F78}" dt="2022-06-26T13:13:51.509" v="5200" actId="478"/>
          <ac:spMkLst>
            <pc:docMk/>
            <pc:sldMk cId="99050275" sldId="269"/>
            <ac:spMk id="13" creationId="{34D5A47D-FF87-4000-BA21-E80253E29C6A}"/>
          </ac:spMkLst>
        </pc:spChg>
        <pc:spChg chg="add del mod">
          <ac:chgData name="Roussel, Gaetan" userId="269e9c6f-a5fe-49a6-9b6b-1c16ee3e16b1" providerId="ADAL" clId="{A43ED10B-C0D7-409E-AD3F-D6A5AE869F78}" dt="2022-06-26T13:13:51.509" v="5200" actId="478"/>
          <ac:spMkLst>
            <pc:docMk/>
            <pc:sldMk cId="99050275" sldId="269"/>
            <ac:spMk id="14" creationId="{B6B869AF-DE19-4967-8898-502B51995C1A}"/>
          </ac:spMkLst>
        </pc:spChg>
        <pc:spChg chg="add del mod">
          <ac:chgData name="Roussel, Gaetan" userId="269e9c6f-a5fe-49a6-9b6b-1c16ee3e16b1" providerId="ADAL" clId="{A43ED10B-C0D7-409E-AD3F-D6A5AE869F78}" dt="2022-06-26T13:13:51.509" v="5200" actId="478"/>
          <ac:spMkLst>
            <pc:docMk/>
            <pc:sldMk cId="99050275" sldId="269"/>
            <ac:spMk id="15" creationId="{710A4BB7-FDCB-4B56-B6B9-3376233AF468}"/>
          </ac:spMkLst>
        </pc:spChg>
        <pc:spChg chg="add del mod">
          <ac:chgData name="Roussel, Gaetan" userId="269e9c6f-a5fe-49a6-9b6b-1c16ee3e16b1" providerId="ADAL" clId="{A43ED10B-C0D7-409E-AD3F-D6A5AE869F78}" dt="2022-06-26T13:13:51.509" v="5200" actId="478"/>
          <ac:spMkLst>
            <pc:docMk/>
            <pc:sldMk cId="99050275" sldId="269"/>
            <ac:spMk id="16" creationId="{53AEB792-EAA5-42B5-81DE-716F3FC62731}"/>
          </ac:spMkLst>
        </pc:spChg>
        <pc:spChg chg="add del mod">
          <ac:chgData name="Roussel, Gaetan" userId="269e9c6f-a5fe-49a6-9b6b-1c16ee3e16b1" providerId="ADAL" clId="{A43ED10B-C0D7-409E-AD3F-D6A5AE869F78}" dt="2022-06-26T13:13:51.509" v="5200" actId="478"/>
          <ac:spMkLst>
            <pc:docMk/>
            <pc:sldMk cId="99050275" sldId="269"/>
            <ac:spMk id="17" creationId="{E8F30DBC-DC15-47D4-A2DA-CDB7A1901F8A}"/>
          </ac:spMkLst>
        </pc:spChg>
        <pc:spChg chg="add del mod">
          <ac:chgData name="Roussel, Gaetan" userId="269e9c6f-a5fe-49a6-9b6b-1c16ee3e16b1" providerId="ADAL" clId="{A43ED10B-C0D7-409E-AD3F-D6A5AE869F78}" dt="2022-06-26T13:13:51.509" v="5200" actId="478"/>
          <ac:spMkLst>
            <pc:docMk/>
            <pc:sldMk cId="99050275" sldId="269"/>
            <ac:spMk id="18" creationId="{0B8DFA72-D552-4AE0-9591-A5B4D62FB692}"/>
          </ac:spMkLst>
        </pc:spChg>
        <pc:spChg chg="add del mod">
          <ac:chgData name="Roussel, Gaetan" userId="269e9c6f-a5fe-49a6-9b6b-1c16ee3e16b1" providerId="ADAL" clId="{A43ED10B-C0D7-409E-AD3F-D6A5AE869F78}" dt="2022-06-26T13:13:51.509" v="5200" actId="478"/>
          <ac:spMkLst>
            <pc:docMk/>
            <pc:sldMk cId="99050275" sldId="269"/>
            <ac:spMk id="19" creationId="{5FA2EA36-D581-42BB-B535-ECB6D9EB98FA}"/>
          </ac:spMkLst>
        </pc:spChg>
        <pc:spChg chg="add del mod">
          <ac:chgData name="Roussel, Gaetan" userId="269e9c6f-a5fe-49a6-9b6b-1c16ee3e16b1" providerId="ADAL" clId="{A43ED10B-C0D7-409E-AD3F-D6A5AE869F78}" dt="2022-06-26T13:13:51.509" v="5200" actId="478"/>
          <ac:spMkLst>
            <pc:docMk/>
            <pc:sldMk cId="99050275" sldId="269"/>
            <ac:spMk id="20" creationId="{8C102F8E-FF74-4AF0-9673-09381A8A7036}"/>
          </ac:spMkLst>
        </pc:spChg>
        <pc:spChg chg="add del mod">
          <ac:chgData name="Roussel, Gaetan" userId="269e9c6f-a5fe-49a6-9b6b-1c16ee3e16b1" providerId="ADAL" clId="{A43ED10B-C0D7-409E-AD3F-D6A5AE869F78}" dt="2022-06-26T13:13:51.509" v="5200" actId="478"/>
          <ac:spMkLst>
            <pc:docMk/>
            <pc:sldMk cId="99050275" sldId="269"/>
            <ac:spMk id="21" creationId="{D11407EA-AF13-426B-BB9E-D2B820312125}"/>
          </ac:spMkLst>
        </pc:spChg>
        <pc:spChg chg="add del mod">
          <ac:chgData name="Roussel, Gaetan" userId="269e9c6f-a5fe-49a6-9b6b-1c16ee3e16b1" providerId="ADAL" clId="{A43ED10B-C0D7-409E-AD3F-D6A5AE869F78}" dt="2022-06-26T13:13:51.509" v="5200" actId="478"/>
          <ac:spMkLst>
            <pc:docMk/>
            <pc:sldMk cId="99050275" sldId="269"/>
            <ac:spMk id="22" creationId="{97892637-D7F2-4714-B37D-0B7A1FA8F1F8}"/>
          </ac:spMkLst>
        </pc:spChg>
        <pc:spChg chg="mod">
          <ac:chgData name="Roussel, Gaetan" userId="269e9c6f-a5fe-49a6-9b6b-1c16ee3e16b1" providerId="ADAL" clId="{A43ED10B-C0D7-409E-AD3F-D6A5AE869F78}" dt="2022-06-25T15:37:39.671" v="2777" actId="1037"/>
          <ac:spMkLst>
            <pc:docMk/>
            <pc:sldMk cId="99050275" sldId="269"/>
            <ac:spMk id="24" creationId="{27126735-4C74-4D8E-88FB-0F0A80AEF118}"/>
          </ac:spMkLst>
        </pc:spChg>
        <pc:spChg chg="mod">
          <ac:chgData name="Roussel, Gaetan" userId="269e9c6f-a5fe-49a6-9b6b-1c16ee3e16b1" providerId="ADAL" clId="{A43ED10B-C0D7-409E-AD3F-D6A5AE869F78}" dt="2022-06-25T15:37:39.671" v="2777" actId="1037"/>
          <ac:spMkLst>
            <pc:docMk/>
            <pc:sldMk cId="99050275" sldId="269"/>
            <ac:spMk id="25" creationId="{A34BB9F1-EDAF-4E37-99F0-976B4695EC8B}"/>
          </ac:spMkLst>
        </pc:spChg>
        <pc:spChg chg="mod">
          <ac:chgData name="Roussel, Gaetan" userId="269e9c6f-a5fe-49a6-9b6b-1c16ee3e16b1" providerId="ADAL" clId="{A43ED10B-C0D7-409E-AD3F-D6A5AE869F78}" dt="2022-06-25T15:37:39.671" v="2777" actId="1037"/>
          <ac:spMkLst>
            <pc:docMk/>
            <pc:sldMk cId="99050275" sldId="269"/>
            <ac:spMk id="28" creationId="{4B1D18A3-F02F-48B4-BFC0-21EC0CB48AE6}"/>
          </ac:spMkLst>
        </pc:spChg>
        <pc:spChg chg="mod">
          <ac:chgData name="Roussel, Gaetan" userId="269e9c6f-a5fe-49a6-9b6b-1c16ee3e16b1" providerId="ADAL" clId="{A43ED10B-C0D7-409E-AD3F-D6A5AE869F78}" dt="2022-06-25T15:37:39.671" v="2777" actId="1037"/>
          <ac:spMkLst>
            <pc:docMk/>
            <pc:sldMk cId="99050275" sldId="269"/>
            <ac:spMk id="29" creationId="{B339B6E2-27EB-453E-A765-3282BCCFC3BC}"/>
          </ac:spMkLst>
        </pc:spChg>
        <pc:spChg chg="mod">
          <ac:chgData name="Roussel, Gaetan" userId="269e9c6f-a5fe-49a6-9b6b-1c16ee3e16b1" providerId="ADAL" clId="{A43ED10B-C0D7-409E-AD3F-D6A5AE869F78}" dt="2022-06-25T15:37:39.671" v="2777" actId="1037"/>
          <ac:spMkLst>
            <pc:docMk/>
            <pc:sldMk cId="99050275" sldId="269"/>
            <ac:spMk id="30" creationId="{DE68B4E2-AE63-4C78-B2F8-B7CE25009FC0}"/>
          </ac:spMkLst>
        </pc:spChg>
        <pc:spChg chg="mod">
          <ac:chgData name="Roussel, Gaetan" userId="269e9c6f-a5fe-49a6-9b6b-1c16ee3e16b1" providerId="ADAL" clId="{A43ED10B-C0D7-409E-AD3F-D6A5AE869F78}" dt="2022-06-25T15:37:39.671" v="2777" actId="1037"/>
          <ac:spMkLst>
            <pc:docMk/>
            <pc:sldMk cId="99050275" sldId="269"/>
            <ac:spMk id="32" creationId="{CF3874FF-5052-41F8-9D7A-48D4C08D30AF}"/>
          </ac:spMkLst>
        </pc:spChg>
        <pc:spChg chg="mod">
          <ac:chgData name="Roussel, Gaetan" userId="269e9c6f-a5fe-49a6-9b6b-1c16ee3e16b1" providerId="ADAL" clId="{A43ED10B-C0D7-409E-AD3F-D6A5AE869F78}" dt="2022-06-25T15:37:39.671" v="2777" actId="1037"/>
          <ac:spMkLst>
            <pc:docMk/>
            <pc:sldMk cId="99050275" sldId="269"/>
            <ac:spMk id="33" creationId="{CAF0E57B-B5FC-4B8B-B3B9-FD39835FBD73}"/>
          </ac:spMkLst>
        </pc:spChg>
        <pc:spChg chg="mod">
          <ac:chgData name="Roussel, Gaetan" userId="269e9c6f-a5fe-49a6-9b6b-1c16ee3e16b1" providerId="ADAL" clId="{A43ED10B-C0D7-409E-AD3F-D6A5AE869F78}" dt="2022-06-25T15:37:39.671" v="2777" actId="1037"/>
          <ac:spMkLst>
            <pc:docMk/>
            <pc:sldMk cId="99050275" sldId="269"/>
            <ac:spMk id="35" creationId="{2D134727-96F2-45B6-9FD7-D5BFDA9690EB}"/>
          </ac:spMkLst>
        </pc:spChg>
        <pc:spChg chg="mod">
          <ac:chgData name="Roussel, Gaetan" userId="269e9c6f-a5fe-49a6-9b6b-1c16ee3e16b1" providerId="ADAL" clId="{A43ED10B-C0D7-409E-AD3F-D6A5AE869F78}" dt="2022-06-25T15:37:39.671" v="2777" actId="1037"/>
          <ac:spMkLst>
            <pc:docMk/>
            <pc:sldMk cId="99050275" sldId="269"/>
            <ac:spMk id="36" creationId="{78CFE3F4-5D7A-4B26-8CA5-6C83ED8D44B0}"/>
          </ac:spMkLst>
        </pc:spChg>
        <pc:spChg chg="mod">
          <ac:chgData name="Roussel, Gaetan" userId="269e9c6f-a5fe-49a6-9b6b-1c16ee3e16b1" providerId="ADAL" clId="{A43ED10B-C0D7-409E-AD3F-D6A5AE869F78}" dt="2022-06-25T15:37:39.671" v="2777" actId="1037"/>
          <ac:spMkLst>
            <pc:docMk/>
            <pc:sldMk cId="99050275" sldId="269"/>
            <ac:spMk id="38" creationId="{AF0DAB89-989E-4420-869B-C4F8CFAF5056}"/>
          </ac:spMkLst>
        </pc:spChg>
        <pc:spChg chg="mod">
          <ac:chgData name="Roussel, Gaetan" userId="269e9c6f-a5fe-49a6-9b6b-1c16ee3e16b1" providerId="ADAL" clId="{A43ED10B-C0D7-409E-AD3F-D6A5AE869F78}" dt="2022-06-25T15:37:39.671" v="2777" actId="1037"/>
          <ac:spMkLst>
            <pc:docMk/>
            <pc:sldMk cId="99050275" sldId="269"/>
            <ac:spMk id="39" creationId="{54D34AC4-A407-4D7E-A717-A006B2B30501}"/>
          </ac:spMkLst>
        </pc:spChg>
        <pc:spChg chg="mod">
          <ac:chgData name="Roussel, Gaetan" userId="269e9c6f-a5fe-49a6-9b6b-1c16ee3e16b1" providerId="ADAL" clId="{A43ED10B-C0D7-409E-AD3F-D6A5AE869F78}" dt="2022-06-25T15:37:39.671" v="2777" actId="1037"/>
          <ac:spMkLst>
            <pc:docMk/>
            <pc:sldMk cId="99050275" sldId="269"/>
            <ac:spMk id="43" creationId="{C501F0F2-C4CD-4AD2-BD6A-F470778CFBE3}"/>
          </ac:spMkLst>
        </pc:spChg>
        <pc:spChg chg="mod">
          <ac:chgData name="Roussel, Gaetan" userId="269e9c6f-a5fe-49a6-9b6b-1c16ee3e16b1" providerId="ADAL" clId="{A43ED10B-C0D7-409E-AD3F-D6A5AE869F78}" dt="2022-06-25T15:37:39.671" v="2777" actId="1037"/>
          <ac:spMkLst>
            <pc:docMk/>
            <pc:sldMk cId="99050275" sldId="269"/>
            <ac:spMk id="44" creationId="{4282AD32-F0E0-4B52-8552-CC5D439A8295}"/>
          </ac:spMkLst>
        </pc:spChg>
        <pc:spChg chg="mod">
          <ac:chgData name="Roussel, Gaetan" userId="269e9c6f-a5fe-49a6-9b6b-1c16ee3e16b1" providerId="ADAL" clId="{A43ED10B-C0D7-409E-AD3F-D6A5AE869F78}" dt="2022-06-25T15:37:39.671" v="2777" actId="1037"/>
          <ac:spMkLst>
            <pc:docMk/>
            <pc:sldMk cId="99050275" sldId="269"/>
            <ac:spMk id="45" creationId="{879A5083-DC46-46C2-BBE9-D63F7F2AD5E2}"/>
          </ac:spMkLst>
        </pc:spChg>
        <pc:spChg chg="mod">
          <ac:chgData name="Roussel, Gaetan" userId="269e9c6f-a5fe-49a6-9b6b-1c16ee3e16b1" providerId="ADAL" clId="{A43ED10B-C0D7-409E-AD3F-D6A5AE869F78}" dt="2022-06-25T15:37:39.671" v="2777" actId="1037"/>
          <ac:spMkLst>
            <pc:docMk/>
            <pc:sldMk cId="99050275" sldId="269"/>
            <ac:spMk id="47" creationId="{E8D9A9AB-3EEA-465A-9ED5-8502A70030B0}"/>
          </ac:spMkLst>
        </pc:spChg>
        <pc:spChg chg="mod">
          <ac:chgData name="Roussel, Gaetan" userId="269e9c6f-a5fe-49a6-9b6b-1c16ee3e16b1" providerId="ADAL" clId="{A43ED10B-C0D7-409E-AD3F-D6A5AE869F78}" dt="2022-06-25T15:37:39.671" v="2777" actId="1037"/>
          <ac:spMkLst>
            <pc:docMk/>
            <pc:sldMk cId="99050275" sldId="269"/>
            <ac:spMk id="48" creationId="{72891BD5-717B-4F5B-B5D5-089157D96F46}"/>
          </ac:spMkLst>
        </pc:spChg>
        <pc:spChg chg="mod">
          <ac:chgData name="Roussel, Gaetan" userId="269e9c6f-a5fe-49a6-9b6b-1c16ee3e16b1" providerId="ADAL" clId="{A43ED10B-C0D7-409E-AD3F-D6A5AE869F78}" dt="2022-06-25T15:37:39.671" v="2777" actId="1037"/>
          <ac:spMkLst>
            <pc:docMk/>
            <pc:sldMk cId="99050275" sldId="269"/>
            <ac:spMk id="50" creationId="{F9317667-4B09-4BD8-9AD7-8C6D1F7B3558}"/>
          </ac:spMkLst>
        </pc:spChg>
        <pc:spChg chg="mod">
          <ac:chgData name="Roussel, Gaetan" userId="269e9c6f-a5fe-49a6-9b6b-1c16ee3e16b1" providerId="ADAL" clId="{A43ED10B-C0D7-409E-AD3F-D6A5AE869F78}" dt="2022-06-25T15:37:39.671" v="2777" actId="1037"/>
          <ac:spMkLst>
            <pc:docMk/>
            <pc:sldMk cId="99050275" sldId="269"/>
            <ac:spMk id="51" creationId="{98CA3FBF-D3DF-4E84-A3E8-E837E1A2F53E}"/>
          </ac:spMkLst>
        </pc:spChg>
        <pc:spChg chg="mod">
          <ac:chgData name="Roussel, Gaetan" userId="269e9c6f-a5fe-49a6-9b6b-1c16ee3e16b1" providerId="ADAL" clId="{A43ED10B-C0D7-409E-AD3F-D6A5AE869F78}" dt="2022-06-25T15:37:39.671" v="2777" actId="1037"/>
          <ac:spMkLst>
            <pc:docMk/>
            <pc:sldMk cId="99050275" sldId="269"/>
            <ac:spMk id="52" creationId="{8CA0F6A8-AF6F-47DE-86CE-895DE8571220}"/>
          </ac:spMkLst>
        </pc:spChg>
        <pc:spChg chg="mod">
          <ac:chgData name="Roussel, Gaetan" userId="269e9c6f-a5fe-49a6-9b6b-1c16ee3e16b1" providerId="ADAL" clId="{A43ED10B-C0D7-409E-AD3F-D6A5AE869F78}" dt="2022-06-25T15:37:39.671" v="2777" actId="1037"/>
          <ac:spMkLst>
            <pc:docMk/>
            <pc:sldMk cId="99050275" sldId="269"/>
            <ac:spMk id="53" creationId="{85BAC20A-29A3-442B-AC7D-DDDEDA61E47A}"/>
          </ac:spMkLst>
        </pc:spChg>
        <pc:spChg chg="mod">
          <ac:chgData name="Roussel, Gaetan" userId="269e9c6f-a5fe-49a6-9b6b-1c16ee3e16b1" providerId="ADAL" clId="{A43ED10B-C0D7-409E-AD3F-D6A5AE869F78}" dt="2022-06-25T15:37:39.671" v="2777" actId="1037"/>
          <ac:spMkLst>
            <pc:docMk/>
            <pc:sldMk cId="99050275" sldId="269"/>
            <ac:spMk id="54" creationId="{AE7E05AD-F730-4B01-9DFF-F0EBCC012B3E}"/>
          </ac:spMkLst>
        </pc:spChg>
        <pc:spChg chg="mod">
          <ac:chgData name="Roussel, Gaetan" userId="269e9c6f-a5fe-49a6-9b6b-1c16ee3e16b1" providerId="ADAL" clId="{A43ED10B-C0D7-409E-AD3F-D6A5AE869F78}" dt="2022-06-25T15:37:39.671" v="2777" actId="1037"/>
          <ac:spMkLst>
            <pc:docMk/>
            <pc:sldMk cId="99050275" sldId="269"/>
            <ac:spMk id="55" creationId="{145E13C7-BE5A-4BA5-BA98-A16F06A3619A}"/>
          </ac:spMkLst>
        </pc:spChg>
        <pc:spChg chg="mod">
          <ac:chgData name="Roussel, Gaetan" userId="269e9c6f-a5fe-49a6-9b6b-1c16ee3e16b1" providerId="ADAL" clId="{A43ED10B-C0D7-409E-AD3F-D6A5AE869F78}" dt="2022-06-25T15:37:39.671" v="2777" actId="1037"/>
          <ac:spMkLst>
            <pc:docMk/>
            <pc:sldMk cId="99050275" sldId="269"/>
            <ac:spMk id="56" creationId="{01E234A2-3999-4EDD-B814-3C87DA7B2940}"/>
          </ac:spMkLst>
        </pc:spChg>
        <pc:spChg chg="mod">
          <ac:chgData name="Roussel, Gaetan" userId="269e9c6f-a5fe-49a6-9b6b-1c16ee3e16b1" providerId="ADAL" clId="{A43ED10B-C0D7-409E-AD3F-D6A5AE869F78}" dt="2022-06-25T15:37:39.671" v="2777" actId="1037"/>
          <ac:spMkLst>
            <pc:docMk/>
            <pc:sldMk cId="99050275" sldId="269"/>
            <ac:spMk id="58" creationId="{0150062D-277B-4A20-9EC6-31020F8B00E0}"/>
          </ac:spMkLst>
        </pc:spChg>
        <pc:spChg chg="mod">
          <ac:chgData name="Roussel, Gaetan" userId="269e9c6f-a5fe-49a6-9b6b-1c16ee3e16b1" providerId="ADAL" clId="{A43ED10B-C0D7-409E-AD3F-D6A5AE869F78}" dt="2022-06-25T15:37:39.671" v="2777" actId="1037"/>
          <ac:spMkLst>
            <pc:docMk/>
            <pc:sldMk cId="99050275" sldId="269"/>
            <ac:spMk id="59" creationId="{1FBF6A73-34EF-4FC5-A502-49A0C6ABAD4F}"/>
          </ac:spMkLst>
        </pc:spChg>
        <pc:spChg chg="mod">
          <ac:chgData name="Roussel, Gaetan" userId="269e9c6f-a5fe-49a6-9b6b-1c16ee3e16b1" providerId="ADAL" clId="{A43ED10B-C0D7-409E-AD3F-D6A5AE869F78}" dt="2022-06-25T15:37:39.671" v="2777" actId="1037"/>
          <ac:spMkLst>
            <pc:docMk/>
            <pc:sldMk cId="99050275" sldId="269"/>
            <ac:spMk id="61" creationId="{0A970DB4-6C2A-4D5F-AE74-E763C11B8364}"/>
          </ac:spMkLst>
        </pc:spChg>
        <pc:spChg chg="mod">
          <ac:chgData name="Roussel, Gaetan" userId="269e9c6f-a5fe-49a6-9b6b-1c16ee3e16b1" providerId="ADAL" clId="{A43ED10B-C0D7-409E-AD3F-D6A5AE869F78}" dt="2022-06-25T15:37:39.671" v="2777" actId="1037"/>
          <ac:spMkLst>
            <pc:docMk/>
            <pc:sldMk cId="99050275" sldId="269"/>
            <ac:spMk id="62" creationId="{1BBC0C5F-D366-42BB-B73B-D664ED94932D}"/>
          </ac:spMkLst>
        </pc:spChg>
        <pc:spChg chg="mod">
          <ac:chgData name="Roussel, Gaetan" userId="269e9c6f-a5fe-49a6-9b6b-1c16ee3e16b1" providerId="ADAL" clId="{A43ED10B-C0D7-409E-AD3F-D6A5AE869F78}" dt="2022-06-25T15:37:39.671" v="2777" actId="1037"/>
          <ac:spMkLst>
            <pc:docMk/>
            <pc:sldMk cId="99050275" sldId="269"/>
            <ac:spMk id="64" creationId="{386FBAE6-8335-4143-A7FF-F002C060F1AA}"/>
          </ac:spMkLst>
        </pc:spChg>
        <pc:spChg chg="mod">
          <ac:chgData name="Roussel, Gaetan" userId="269e9c6f-a5fe-49a6-9b6b-1c16ee3e16b1" providerId="ADAL" clId="{A43ED10B-C0D7-409E-AD3F-D6A5AE869F78}" dt="2022-06-25T15:37:39.671" v="2777" actId="1037"/>
          <ac:spMkLst>
            <pc:docMk/>
            <pc:sldMk cId="99050275" sldId="269"/>
            <ac:spMk id="65" creationId="{684F0183-8286-45D4-8DDB-A08BE4A6EBFE}"/>
          </ac:spMkLst>
        </pc:spChg>
        <pc:spChg chg="mod">
          <ac:chgData name="Roussel, Gaetan" userId="269e9c6f-a5fe-49a6-9b6b-1c16ee3e16b1" providerId="ADAL" clId="{A43ED10B-C0D7-409E-AD3F-D6A5AE869F78}" dt="2022-06-25T15:37:39.671" v="2777" actId="1037"/>
          <ac:spMkLst>
            <pc:docMk/>
            <pc:sldMk cId="99050275" sldId="269"/>
            <ac:spMk id="66" creationId="{13B49CD2-3BF2-41AF-88A5-6E63AD379C81}"/>
          </ac:spMkLst>
        </pc:spChg>
        <pc:spChg chg="mod">
          <ac:chgData name="Roussel, Gaetan" userId="269e9c6f-a5fe-49a6-9b6b-1c16ee3e16b1" providerId="ADAL" clId="{A43ED10B-C0D7-409E-AD3F-D6A5AE869F78}" dt="2022-06-25T15:37:39.671" v="2777" actId="1037"/>
          <ac:spMkLst>
            <pc:docMk/>
            <pc:sldMk cId="99050275" sldId="269"/>
            <ac:spMk id="67" creationId="{FEB0CA7D-48E7-41C0-A316-D443A2666D78}"/>
          </ac:spMkLst>
        </pc:spChg>
        <pc:spChg chg="add mod">
          <ac:chgData name="Roussel, Gaetan" userId="269e9c6f-a5fe-49a6-9b6b-1c16ee3e16b1" providerId="ADAL" clId="{A43ED10B-C0D7-409E-AD3F-D6A5AE869F78}" dt="2022-06-30T08:50:46.120" v="11560" actId="6549"/>
          <ac:spMkLst>
            <pc:docMk/>
            <pc:sldMk cId="99050275" sldId="269"/>
            <ac:spMk id="68" creationId="{C3039A1E-742D-494D-9BE8-DC656BDECABE}"/>
          </ac:spMkLst>
        </pc:spChg>
        <pc:spChg chg="del mod topLvl">
          <ac:chgData name="Roussel, Gaetan" userId="269e9c6f-a5fe-49a6-9b6b-1c16ee3e16b1" providerId="ADAL" clId="{A43ED10B-C0D7-409E-AD3F-D6A5AE869F78}" dt="2022-06-26T13:55:54.878" v="5418" actId="478"/>
          <ac:spMkLst>
            <pc:docMk/>
            <pc:sldMk cId="99050275" sldId="269"/>
            <ac:spMk id="70" creationId="{48C9000A-2445-4476-BDE4-DF81DDD7FB4B}"/>
          </ac:spMkLst>
        </pc:spChg>
        <pc:spChg chg="mod topLvl">
          <ac:chgData name="Roussel, Gaetan" userId="269e9c6f-a5fe-49a6-9b6b-1c16ee3e16b1" providerId="ADAL" clId="{A43ED10B-C0D7-409E-AD3F-D6A5AE869F78}" dt="2022-06-27T07:16:28.711" v="6439" actId="1036"/>
          <ac:spMkLst>
            <pc:docMk/>
            <pc:sldMk cId="99050275" sldId="269"/>
            <ac:spMk id="71" creationId="{2695C169-BF93-4A97-8818-3129260124D6}"/>
          </ac:spMkLst>
        </pc:spChg>
        <pc:spChg chg="mod topLvl">
          <ac:chgData name="Roussel, Gaetan" userId="269e9c6f-a5fe-49a6-9b6b-1c16ee3e16b1" providerId="ADAL" clId="{A43ED10B-C0D7-409E-AD3F-D6A5AE869F78}" dt="2022-06-27T07:16:28.711" v="6439" actId="1036"/>
          <ac:spMkLst>
            <pc:docMk/>
            <pc:sldMk cId="99050275" sldId="269"/>
            <ac:spMk id="73" creationId="{019AADC3-44E0-4762-BB75-17F3FF065123}"/>
          </ac:spMkLst>
        </pc:spChg>
        <pc:spChg chg="mod topLvl">
          <ac:chgData name="Roussel, Gaetan" userId="269e9c6f-a5fe-49a6-9b6b-1c16ee3e16b1" providerId="ADAL" clId="{A43ED10B-C0D7-409E-AD3F-D6A5AE869F78}" dt="2022-06-29T16:13:55.725" v="11057" actId="1036"/>
          <ac:spMkLst>
            <pc:docMk/>
            <pc:sldMk cId="99050275" sldId="269"/>
            <ac:spMk id="74" creationId="{AA1BE406-60E7-49EE-872E-824CB53B3A4C}"/>
          </ac:spMkLst>
        </pc:spChg>
        <pc:spChg chg="add del mod topLvl">
          <ac:chgData name="Roussel, Gaetan" userId="269e9c6f-a5fe-49a6-9b6b-1c16ee3e16b1" providerId="ADAL" clId="{A43ED10B-C0D7-409E-AD3F-D6A5AE869F78}" dt="2022-06-28T18:30:11.162" v="9694" actId="478"/>
          <ac:spMkLst>
            <pc:docMk/>
            <pc:sldMk cId="99050275" sldId="269"/>
            <ac:spMk id="76" creationId="{F5E913D4-4B61-45ED-ABB3-B837F4B89B59}"/>
          </ac:spMkLst>
        </pc:spChg>
        <pc:spChg chg="del mod topLvl">
          <ac:chgData name="Roussel, Gaetan" userId="269e9c6f-a5fe-49a6-9b6b-1c16ee3e16b1" providerId="ADAL" clId="{A43ED10B-C0D7-409E-AD3F-D6A5AE869F78}" dt="2022-06-28T18:29:01.634" v="9673" actId="478"/>
          <ac:spMkLst>
            <pc:docMk/>
            <pc:sldMk cId="99050275" sldId="269"/>
            <ac:spMk id="77" creationId="{74F9E184-705C-4C36-B13D-95D628191772}"/>
          </ac:spMkLst>
        </pc:spChg>
        <pc:spChg chg="add mod">
          <ac:chgData name="Roussel, Gaetan" userId="269e9c6f-a5fe-49a6-9b6b-1c16ee3e16b1" providerId="ADAL" clId="{A43ED10B-C0D7-409E-AD3F-D6A5AE869F78}" dt="2022-06-28T18:30:35.869" v="9714" actId="1035"/>
          <ac:spMkLst>
            <pc:docMk/>
            <pc:sldMk cId="99050275" sldId="269"/>
            <ac:spMk id="79" creationId="{D7B5BCE6-B631-4E40-B5A5-4FA07B45BF9A}"/>
          </ac:spMkLst>
        </pc:spChg>
        <pc:spChg chg="mod">
          <ac:chgData name="Roussel, Gaetan" userId="269e9c6f-a5fe-49a6-9b6b-1c16ee3e16b1" providerId="ADAL" clId="{A43ED10B-C0D7-409E-AD3F-D6A5AE869F78}" dt="2022-06-26T13:14:20.226" v="5201"/>
          <ac:spMkLst>
            <pc:docMk/>
            <pc:sldMk cId="99050275" sldId="269"/>
            <ac:spMk id="82" creationId="{C28816F9-3F31-4920-8E48-03E9D4A0C8CD}"/>
          </ac:spMkLst>
        </pc:spChg>
        <pc:spChg chg="mod">
          <ac:chgData name="Roussel, Gaetan" userId="269e9c6f-a5fe-49a6-9b6b-1c16ee3e16b1" providerId="ADAL" clId="{A43ED10B-C0D7-409E-AD3F-D6A5AE869F78}" dt="2022-06-26T13:14:20.226" v="5201"/>
          <ac:spMkLst>
            <pc:docMk/>
            <pc:sldMk cId="99050275" sldId="269"/>
            <ac:spMk id="83" creationId="{2559CC43-14A2-4631-9880-454B33029DE1}"/>
          </ac:spMkLst>
        </pc:spChg>
        <pc:spChg chg="add del mod">
          <ac:chgData name="Roussel, Gaetan" userId="269e9c6f-a5fe-49a6-9b6b-1c16ee3e16b1" providerId="ADAL" clId="{A43ED10B-C0D7-409E-AD3F-D6A5AE869F78}" dt="2022-06-26T13:51:50.576" v="5278" actId="478"/>
          <ac:spMkLst>
            <pc:docMk/>
            <pc:sldMk cId="99050275" sldId="269"/>
            <ac:spMk id="84" creationId="{B43D03C1-BA16-405C-9212-16C2AFF4BD78}"/>
          </ac:spMkLst>
        </pc:spChg>
        <pc:spChg chg="mod">
          <ac:chgData name="Roussel, Gaetan" userId="269e9c6f-a5fe-49a6-9b6b-1c16ee3e16b1" providerId="ADAL" clId="{A43ED10B-C0D7-409E-AD3F-D6A5AE869F78}" dt="2022-06-26T13:14:20.226" v="5201"/>
          <ac:spMkLst>
            <pc:docMk/>
            <pc:sldMk cId="99050275" sldId="269"/>
            <ac:spMk id="86" creationId="{283A2A2E-E500-4965-A96A-4FAA730069A0}"/>
          </ac:spMkLst>
        </pc:spChg>
        <pc:spChg chg="mod">
          <ac:chgData name="Roussel, Gaetan" userId="269e9c6f-a5fe-49a6-9b6b-1c16ee3e16b1" providerId="ADAL" clId="{A43ED10B-C0D7-409E-AD3F-D6A5AE869F78}" dt="2022-06-26T13:14:20.226" v="5201"/>
          <ac:spMkLst>
            <pc:docMk/>
            <pc:sldMk cId="99050275" sldId="269"/>
            <ac:spMk id="87" creationId="{3ECFB271-4111-4787-B066-07F85747699D}"/>
          </ac:spMkLst>
        </pc:spChg>
        <pc:spChg chg="mod">
          <ac:chgData name="Roussel, Gaetan" userId="269e9c6f-a5fe-49a6-9b6b-1c16ee3e16b1" providerId="ADAL" clId="{A43ED10B-C0D7-409E-AD3F-D6A5AE869F78}" dt="2022-06-26T13:14:20.226" v="5201"/>
          <ac:spMkLst>
            <pc:docMk/>
            <pc:sldMk cId="99050275" sldId="269"/>
            <ac:spMk id="89" creationId="{C2EE23A6-8EBB-451F-9952-5CFCE7777787}"/>
          </ac:spMkLst>
        </pc:spChg>
        <pc:spChg chg="mod">
          <ac:chgData name="Roussel, Gaetan" userId="269e9c6f-a5fe-49a6-9b6b-1c16ee3e16b1" providerId="ADAL" clId="{A43ED10B-C0D7-409E-AD3F-D6A5AE869F78}" dt="2022-06-26T13:14:20.226" v="5201"/>
          <ac:spMkLst>
            <pc:docMk/>
            <pc:sldMk cId="99050275" sldId="269"/>
            <ac:spMk id="90" creationId="{E81E1D85-5DC9-4232-8C7F-EA3A21208EFD}"/>
          </ac:spMkLst>
        </pc:spChg>
        <pc:spChg chg="add mod">
          <ac:chgData name="Roussel, Gaetan" userId="269e9c6f-a5fe-49a6-9b6b-1c16ee3e16b1" providerId="ADAL" clId="{A43ED10B-C0D7-409E-AD3F-D6A5AE869F78}" dt="2022-06-30T08:51:50.222" v="11603" actId="20577"/>
          <ac:spMkLst>
            <pc:docMk/>
            <pc:sldMk cId="99050275" sldId="269"/>
            <ac:spMk id="91" creationId="{253CC08F-35AF-4A99-AC7E-157B0D6F041D}"/>
          </ac:spMkLst>
        </pc:spChg>
        <pc:spChg chg="add mod">
          <ac:chgData name="Roussel, Gaetan" userId="269e9c6f-a5fe-49a6-9b6b-1c16ee3e16b1" providerId="ADAL" clId="{A43ED10B-C0D7-409E-AD3F-D6A5AE869F78}" dt="2022-06-28T18:26:20.316" v="9636" actId="207"/>
          <ac:spMkLst>
            <pc:docMk/>
            <pc:sldMk cId="99050275" sldId="269"/>
            <ac:spMk id="92" creationId="{F1F085BE-52B1-4AA9-86B6-BB3BECBE6F57}"/>
          </ac:spMkLst>
        </pc:spChg>
        <pc:spChg chg="mod">
          <ac:chgData name="Roussel, Gaetan" userId="269e9c6f-a5fe-49a6-9b6b-1c16ee3e16b1" providerId="ADAL" clId="{A43ED10B-C0D7-409E-AD3F-D6A5AE869F78}" dt="2022-06-26T13:51:13.531" v="5265"/>
          <ac:spMkLst>
            <pc:docMk/>
            <pc:sldMk cId="99050275" sldId="269"/>
            <ac:spMk id="94" creationId="{7EFFBBDC-75A6-4612-9E08-A4E73BF9F4BC}"/>
          </ac:spMkLst>
        </pc:spChg>
        <pc:spChg chg="mod topLvl">
          <ac:chgData name="Roussel, Gaetan" userId="269e9c6f-a5fe-49a6-9b6b-1c16ee3e16b1" providerId="ADAL" clId="{A43ED10B-C0D7-409E-AD3F-D6A5AE869F78}" dt="2022-06-30T08:16:24.242" v="11199" actId="165"/>
          <ac:spMkLst>
            <pc:docMk/>
            <pc:sldMk cId="99050275" sldId="269"/>
            <ac:spMk id="98" creationId="{4F0F1582-8946-44ED-8134-29B3FECCC4C6}"/>
          </ac:spMkLst>
        </pc:spChg>
        <pc:spChg chg="add mod ord">
          <ac:chgData name="Roussel, Gaetan" userId="269e9c6f-a5fe-49a6-9b6b-1c16ee3e16b1" providerId="ADAL" clId="{A43ED10B-C0D7-409E-AD3F-D6A5AE869F78}" dt="2022-06-27T07:16:28.711" v="6439" actId="1036"/>
          <ac:spMkLst>
            <pc:docMk/>
            <pc:sldMk cId="99050275" sldId="269"/>
            <ac:spMk id="101" creationId="{940BC556-0250-4B33-97B6-0C3D73A25000}"/>
          </ac:spMkLst>
        </pc:spChg>
        <pc:spChg chg="add del mod">
          <ac:chgData name="Roussel, Gaetan" userId="269e9c6f-a5fe-49a6-9b6b-1c16ee3e16b1" providerId="ADAL" clId="{A43ED10B-C0D7-409E-AD3F-D6A5AE869F78}" dt="2022-06-27T13:13:11.523" v="7343" actId="478"/>
          <ac:spMkLst>
            <pc:docMk/>
            <pc:sldMk cId="99050275" sldId="269"/>
            <ac:spMk id="102" creationId="{AC22AC1C-836C-4835-8A7B-FDCCF4395CA2}"/>
          </ac:spMkLst>
        </pc:spChg>
        <pc:spChg chg="add mod">
          <ac:chgData name="Roussel, Gaetan" userId="269e9c6f-a5fe-49a6-9b6b-1c16ee3e16b1" providerId="ADAL" clId="{A43ED10B-C0D7-409E-AD3F-D6A5AE869F78}" dt="2022-06-30T08:23:41.301" v="11303" actId="20577"/>
          <ac:spMkLst>
            <pc:docMk/>
            <pc:sldMk cId="99050275" sldId="269"/>
            <ac:spMk id="103" creationId="{58DF7086-0858-42DE-AD0F-8725E97FD084}"/>
          </ac:spMkLst>
        </pc:spChg>
        <pc:spChg chg="add mod ord">
          <ac:chgData name="Roussel, Gaetan" userId="269e9c6f-a5fe-49a6-9b6b-1c16ee3e16b1" providerId="ADAL" clId="{A43ED10B-C0D7-409E-AD3F-D6A5AE869F78}" dt="2022-06-28T18:30:35.869" v="9714" actId="1035"/>
          <ac:spMkLst>
            <pc:docMk/>
            <pc:sldMk cId="99050275" sldId="269"/>
            <ac:spMk id="104" creationId="{2A76C83C-D61A-457F-BA56-08364545CBA2}"/>
          </ac:spMkLst>
        </pc:spChg>
        <pc:spChg chg="add mod">
          <ac:chgData name="Roussel, Gaetan" userId="269e9c6f-a5fe-49a6-9b6b-1c16ee3e16b1" providerId="ADAL" clId="{A43ED10B-C0D7-409E-AD3F-D6A5AE869F78}" dt="2022-06-28T18:30:35.869" v="9714" actId="1035"/>
          <ac:spMkLst>
            <pc:docMk/>
            <pc:sldMk cId="99050275" sldId="269"/>
            <ac:spMk id="105" creationId="{DD86A51A-94DA-47C9-BC4A-D1AF2D5C117C}"/>
          </ac:spMkLst>
        </pc:spChg>
        <pc:grpChg chg="add del mod">
          <ac:chgData name="Roussel, Gaetan" userId="269e9c6f-a5fe-49a6-9b6b-1c16ee3e16b1" providerId="ADAL" clId="{A43ED10B-C0D7-409E-AD3F-D6A5AE869F78}" dt="2022-06-26T13:13:51.509" v="5200" actId="478"/>
          <ac:grpSpMkLst>
            <pc:docMk/>
            <pc:sldMk cId="99050275" sldId="269"/>
            <ac:grpSpMk id="23" creationId="{17EFE80B-C9DD-40FC-9B0D-996B5D3CD303}"/>
          </ac:grpSpMkLst>
        </pc:grpChg>
        <pc:grpChg chg="add del mod">
          <ac:chgData name="Roussel, Gaetan" userId="269e9c6f-a5fe-49a6-9b6b-1c16ee3e16b1" providerId="ADAL" clId="{A43ED10B-C0D7-409E-AD3F-D6A5AE869F78}" dt="2022-06-26T13:13:51.509" v="5200" actId="478"/>
          <ac:grpSpMkLst>
            <pc:docMk/>
            <pc:sldMk cId="99050275" sldId="269"/>
            <ac:grpSpMk id="26" creationId="{489BC56A-E6C5-4AD0-8E00-1C6433598504}"/>
          </ac:grpSpMkLst>
        </pc:grpChg>
        <pc:grpChg chg="mod">
          <ac:chgData name="Roussel, Gaetan" userId="269e9c6f-a5fe-49a6-9b6b-1c16ee3e16b1" providerId="ADAL" clId="{A43ED10B-C0D7-409E-AD3F-D6A5AE869F78}" dt="2022-06-25T15:37:39.671" v="2777" actId="1037"/>
          <ac:grpSpMkLst>
            <pc:docMk/>
            <pc:sldMk cId="99050275" sldId="269"/>
            <ac:grpSpMk id="27" creationId="{9EBC6A38-7FA7-4070-92C6-E20CE111BC17}"/>
          </ac:grpSpMkLst>
        </pc:grpChg>
        <pc:grpChg chg="add del mod">
          <ac:chgData name="Roussel, Gaetan" userId="269e9c6f-a5fe-49a6-9b6b-1c16ee3e16b1" providerId="ADAL" clId="{A43ED10B-C0D7-409E-AD3F-D6A5AE869F78}" dt="2022-06-26T13:13:51.509" v="5200" actId="478"/>
          <ac:grpSpMkLst>
            <pc:docMk/>
            <pc:sldMk cId="99050275" sldId="269"/>
            <ac:grpSpMk id="31" creationId="{F57D7E40-B3D5-4AD2-8E4E-E71336B4780A}"/>
          </ac:grpSpMkLst>
        </pc:grpChg>
        <pc:grpChg chg="add del mod">
          <ac:chgData name="Roussel, Gaetan" userId="269e9c6f-a5fe-49a6-9b6b-1c16ee3e16b1" providerId="ADAL" clId="{A43ED10B-C0D7-409E-AD3F-D6A5AE869F78}" dt="2022-06-26T13:13:51.509" v="5200" actId="478"/>
          <ac:grpSpMkLst>
            <pc:docMk/>
            <pc:sldMk cId="99050275" sldId="269"/>
            <ac:grpSpMk id="34" creationId="{FAE99EA2-B6A8-453B-B286-80C66FE21F36}"/>
          </ac:grpSpMkLst>
        </pc:grpChg>
        <pc:grpChg chg="add del mod">
          <ac:chgData name="Roussel, Gaetan" userId="269e9c6f-a5fe-49a6-9b6b-1c16ee3e16b1" providerId="ADAL" clId="{A43ED10B-C0D7-409E-AD3F-D6A5AE869F78}" dt="2022-06-26T13:13:51.509" v="5200" actId="478"/>
          <ac:grpSpMkLst>
            <pc:docMk/>
            <pc:sldMk cId="99050275" sldId="269"/>
            <ac:grpSpMk id="37" creationId="{6DD5DADA-4D8B-4001-BCE6-88997F96638A}"/>
          </ac:grpSpMkLst>
        </pc:grpChg>
        <pc:grpChg chg="add del mod">
          <ac:chgData name="Roussel, Gaetan" userId="269e9c6f-a5fe-49a6-9b6b-1c16ee3e16b1" providerId="ADAL" clId="{A43ED10B-C0D7-409E-AD3F-D6A5AE869F78}" dt="2022-06-26T13:13:51.509" v="5200" actId="478"/>
          <ac:grpSpMkLst>
            <pc:docMk/>
            <pc:sldMk cId="99050275" sldId="269"/>
            <ac:grpSpMk id="42" creationId="{0645DFA6-FCBA-4951-B1EF-D019DED40D20}"/>
          </ac:grpSpMkLst>
        </pc:grpChg>
        <pc:grpChg chg="add del mod">
          <ac:chgData name="Roussel, Gaetan" userId="269e9c6f-a5fe-49a6-9b6b-1c16ee3e16b1" providerId="ADAL" clId="{A43ED10B-C0D7-409E-AD3F-D6A5AE869F78}" dt="2022-06-26T13:13:51.509" v="5200" actId="478"/>
          <ac:grpSpMkLst>
            <pc:docMk/>
            <pc:sldMk cId="99050275" sldId="269"/>
            <ac:grpSpMk id="46" creationId="{8586CCE9-F0D7-4E56-A151-FD8403415919}"/>
          </ac:grpSpMkLst>
        </pc:grpChg>
        <pc:grpChg chg="add del mod">
          <ac:chgData name="Roussel, Gaetan" userId="269e9c6f-a5fe-49a6-9b6b-1c16ee3e16b1" providerId="ADAL" clId="{A43ED10B-C0D7-409E-AD3F-D6A5AE869F78}" dt="2022-06-26T13:13:51.509" v="5200" actId="478"/>
          <ac:grpSpMkLst>
            <pc:docMk/>
            <pc:sldMk cId="99050275" sldId="269"/>
            <ac:grpSpMk id="49" creationId="{2430F464-696B-4E69-8B84-B4B63FC65BB8}"/>
          </ac:grpSpMkLst>
        </pc:grpChg>
        <pc:grpChg chg="add del mod">
          <ac:chgData name="Roussel, Gaetan" userId="269e9c6f-a5fe-49a6-9b6b-1c16ee3e16b1" providerId="ADAL" clId="{A43ED10B-C0D7-409E-AD3F-D6A5AE869F78}" dt="2022-06-26T13:13:51.509" v="5200" actId="478"/>
          <ac:grpSpMkLst>
            <pc:docMk/>
            <pc:sldMk cId="99050275" sldId="269"/>
            <ac:grpSpMk id="57" creationId="{AE274841-D328-47DF-B604-923DDD1613D7}"/>
          </ac:grpSpMkLst>
        </pc:grpChg>
        <pc:grpChg chg="add del mod">
          <ac:chgData name="Roussel, Gaetan" userId="269e9c6f-a5fe-49a6-9b6b-1c16ee3e16b1" providerId="ADAL" clId="{A43ED10B-C0D7-409E-AD3F-D6A5AE869F78}" dt="2022-06-26T13:13:51.509" v="5200" actId="478"/>
          <ac:grpSpMkLst>
            <pc:docMk/>
            <pc:sldMk cId="99050275" sldId="269"/>
            <ac:grpSpMk id="60" creationId="{659DF4DE-5AAE-45E3-B2F4-B4E94F895AFE}"/>
          </ac:grpSpMkLst>
        </pc:grpChg>
        <pc:grpChg chg="add del mod">
          <ac:chgData name="Roussel, Gaetan" userId="269e9c6f-a5fe-49a6-9b6b-1c16ee3e16b1" providerId="ADAL" clId="{A43ED10B-C0D7-409E-AD3F-D6A5AE869F78}" dt="2022-06-26T13:13:51.509" v="5200" actId="478"/>
          <ac:grpSpMkLst>
            <pc:docMk/>
            <pc:sldMk cId="99050275" sldId="269"/>
            <ac:grpSpMk id="63" creationId="{7C497E20-624C-4092-B620-BC15AD4599AE}"/>
          </ac:grpSpMkLst>
        </pc:grpChg>
        <pc:grpChg chg="add del mod">
          <ac:chgData name="Roussel, Gaetan" userId="269e9c6f-a5fe-49a6-9b6b-1c16ee3e16b1" providerId="ADAL" clId="{A43ED10B-C0D7-409E-AD3F-D6A5AE869F78}" dt="2022-06-26T13:52:11.661" v="5289" actId="165"/>
          <ac:grpSpMkLst>
            <pc:docMk/>
            <pc:sldMk cId="99050275" sldId="269"/>
            <ac:grpSpMk id="69" creationId="{6FF60CCF-C045-44DA-9190-1325C2C177C5}"/>
          </ac:grpSpMkLst>
        </pc:grpChg>
        <pc:grpChg chg="add del mod">
          <ac:chgData name="Roussel, Gaetan" userId="269e9c6f-a5fe-49a6-9b6b-1c16ee3e16b1" providerId="ADAL" clId="{A43ED10B-C0D7-409E-AD3F-D6A5AE869F78}" dt="2022-06-26T13:52:20.354" v="5292" actId="165"/>
          <ac:grpSpMkLst>
            <pc:docMk/>
            <pc:sldMk cId="99050275" sldId="269"/>
            <ac:grpSpMk id="72" creationId="{3C940392-F0C5-4147-8451-4653B30C7627}"/>
          </ac:grpSpMkLst>
        </pc:grpChg>
        <pc:grpChg chg="add del mod">
          <ac:chgData name="Roussel, Gaetan" userId="269e9c6f-a5fe-49a6-9b6b-1c16ee3e16b1" providerId="ADAL" clId="{A43ED10B-C0D7-409E-AD3F-D6A5AE869F78}" dt="2022-06-26T13:52:57.409" v="5317" actId="165"/>
          <ac:grpSpMkLst>
            <pc:docMk/>
            <pc:sldMk cId="99050275" sldId="269"/>
            <ac:grpSpMk id="75" creationId="{0059A050-2271-403E-9363-DB6F82814384}"/>
          </ac:grpSpMkLst>
        </pc:grpChg>
        <pc:grpChg chg="add del mod">
          <ac:chgData name="Roussel, Gaetan" userId="269e9c6f-a5fe-49a6-9b6b-1c16ee3e16b1" providerId="ADAL" clId="{A43ED10B-C0D7-409E-AD3F-D6A5AE869F78}" dt="2022-06-26T13:51:51.173" v="5279" actId="478"/>
          <ac:grpSpMkLst>
            <pc:docMk/>
            <pc:sldMk cId="99050275" sldId="269"/>
            <ac:grpSpMk id="81" creationId="{47F71E1A-9165-4A20-B7AC-44D8DA5268E6}"/>
          </ac:grpSpMkLst>
        </pc:grpChg>
        <pc:grpChg chg="add del mod">
          <ac:chgData name="Roussel, Gaetan" userId="269e9c6f-a5fe-49a6-9b6b-1c16ee3e16b1" providerId="ADAL" clId="{A43ED10B-C0D7-409E-AD3F-D6A5AE869F78}" dt="2022-06-26T13:51:25.884" v="5268" actId="478"/>
          <ac:grpSpMkLst>
            <pc:docMk/>
            <pc:sldMk cId="99050275" sldId="269"/>
            <ac:grpSpMk id="85" creationId="{A634CB3F-B64A-44B1-9D0E-BB9668AAD4F5}"/>
          </ac:grpSpMkLst>
        </pc:grpChg>
        <pc:grpChg chg="add del mod">
          <ac:chgData name="Roussel, Gaetan" userId="269e9c6f-a5fe-49a6-9b6b-1c16ee3e16b1" providerId="ADAL" clId="{A43ED10B-C0D7-409E-AD3F-D6A5AE869F78}" dt="2022-06-26T13:51:27.218" v="5270" actId="478"/>
          <ac:grpSpMkLst>
            <pc:docMk/>
            <pc:sldMk cId="99050275" sldId="269"/>
            <ac:grpSpMk id="88" creationId="{C3DC3728-6EAF-4E48-B5DB-0D45E2A5E5C6}"/>
          </ac:grpSpMkLst>
        </pc:grpChg>
        <pc:grpChg chg="add del mod">
          <ac:chgData name="Roussel, Gaetan" userId="269e9c6f-a5fe-49a6-9b6b-1c16ee3e16b1" providerId="ADAL" clId="{A43ED10B-C0D7-409E-AD3F-D6A5AE869F78}" dt="2022-06-26T13:51:16.950" v="5266"/>
          <ac:grpSpMkLst>
            <pc:docMk/>
            <pc:sldMk cId="99050275" sldId="269"/>
            <ac:grpSpMk id="93" creationId="{6C2CDC0A-3F0D-48EE-B70D-321B918EBA0B}"/>
          </ac:grpSpMkLst>
        </pc:grpChg>
        <pc:grpChg chg="add del mod">
          <ac:chgData name="Roussel, Gaetan" userId="269e9c6f-a5fe-49a6-9b6b-1c16ee3e16b1" providerId="ADAL" clId="{A43ED10B-C0D7-409E-AD3F-D6A5AE869F78}" dt="2022-06-30T08:16:24.242" v="11199" actId="165"/>
          <ac:grpSpMkLst>
            <pc:docMk/>
            <pc:sldMk cId="99050275" sldId="269"/>
            <ac:grpSpMk id="97" creationId="{8DF23055-AA2C-4A4A-8C91-F490CEC19C0F}"/>
          </ac:grpSpMkLst>
        </pc:grpChg>
        <pc:picChg chg="add mod">
          <ac:chgData name="Roussel, Gaetan" userId="269e9c6f-a5fe-49a6-9b6b-1c16ee3e16b1" providerId="ADAL" clId="{A43ED10B-C0D7-409E-AD3F-D6A5AE869F78}" dt="2022-06-30T08:16:27.132" v="11201"/>
          <ac:picMkLst>
            <pc:docMk/>
            <pc:sldMk cId="99050275" sldId="269"/>
            <ac:picMk id="17" creationId="{30E90E23-5FF9-429C-9766-62B7596B8C6E}"/>
          </ac:picMkLst>
        </pc:picChg>
        <pc:picChg chg="mod">
          <ac:chgData name="Roussel, Gaetan" userId="269e9c6f-a5fe-49a6-9b6b-1c16ee3e16b1" providerId="ADAL" clId="{A43ED10B-C0D7-409E-AD3F-D6A5AE869F78}" dt="2022-06-26T13:51:13.531" v="5265"/>
          <ac:picMkLst>
            <pc:docMk/>
            <pc:sldMk cId="99050275" sldId="269"/>
            <ac:picMk id="95" creationId="{99E8C871-A22F-42B6-908E-CB3FBAF85EE4}"/>
          </ac:picMkLst>
        </pc:picChg>
        <pc:picChg chg="mod">
          <ac:chgData name="Roussel, Gaetan" userId="269e9c6f-a5fe-49a6-9b6b-1c16ee3e16b1" providerId="ADAL" clId="{A43ED10B-C0D7-409E-AD3F-D6A5AE869F78}" dt="2022-06-26T13:51:13.531" v="5265"/>
          <ac:picMkLst>
            <pc:docMk/>
            <pc:sldMk cId="99050275" sldId="269"/>
            <ac:picMk id="96" creationId="{955CC223-E0E0-4BA4-B845-4FE3044B8388}"/>
          </ac:picMkLst>
        </pc:picChg>
        <pc:picChg chg="del mod topLvl">
          <ac:chgData name="Roussel, Gaetan" userId="269e9c6f-a5fe-49a6-9b6b-1c16ee3e16b1" providerId="ADAL" clId="{A43ED10B-C0D7-409E-AD3F-D6A5AE869F78}" dt="2022-06-30T08:16:26.766" v="11200" actId="478"/>
          <ac:picMkLst>
            <pc:docMk/>
            <pc:sldMk cId="99050275" sldId="269"/>
            <ac:picMk id="99" creationId="{1DCB8374-FBA4-43DD-A930-487C81F004C5}"/>
          </ac:picMkLst>
        </pc:picChg>
        <pc:picChg chg="mod topLvl">
          <ac:chgData name="Roussel, Gaetan" userId="269e9c6f-a5fe-49a6-9b6b-1c16ee3e16b1" providerId="ADAL" clId="{A43ED10B-C0D7-409E-AD3F-D6A5AE869F78}" dt="2022-06-30T08:16:24.242" v="11199" actId="165"/>
          <ac:picMkLst>
            <pc:docMk/>
            <pc:sldMk cId="99050275" sldId="269"/>
            <ac:picMk id="100" creationId="{22F1DF83-0F27-4E67-91A7-E07AE9401477}"/>
          </ac:picMkLst>
        </pc:picChg>
        <pc:cxnChg chg="add del mod">
          <ac:chgData name="Roussel, Gaetan" userId="269e9c6f-a5fe-49a6-9b6b-1c16ee3e16b1" providerId="ADAL" clId="{A43ED10B-C0D7-409E-AD3F-D6A5AE869F78}" dt="2022-06-26T13:13:51.509" v="5200" actId="478"/>
          <ac:cxnSpMkLst>
            <pc:docMk/>
            <pc:sldMk cId="99050275" sldId="269"/>
            <ac:cxnSpMk id="40" creationId="{84F4C22B-1512-4732-BD9C-DC3244CDB623}"/>
          </ac:cxnSpMkLst>
        </pc:cxnChg>
        <pc:cxnChg chg="add del mod">
          <ac:chgData name="Roussel, Gaetan" userId="269e9c6f-a5fe-49a6-9b6b-1c16ee3e16b1" providerId="ADAL" clId="{A43ED10B-C0D7-409E-AD3F-D6A5AE869F78}" dt="2022-06-26T13:13:51.509" v="5200" actId="478"/>
          <ac:cxnSpMkLst>
            <pc:docMk/>
            <pc:sldMk cId="99050275" sldId="269"/>
            <ac:cxnSpMk id="41" creationId="{7CA33CD3-4C44-4908-8E0B-80E114F813A5}"/>
          </ac:cxnSpMkLst>
        </pc:cxnChg>
        <pc:cxnChg chg="add del mod">
          <ac:chgData name="Roussel, Gaetan" userId="269e9c6f-a5fe-49a6-9b6b-1c16ee3e16b1" providerId="ADAL" clId="{A43ED10B-C0D7-409E-AD3F-D6A5AE869F78}" dt="2022-06-26T13:52:28.265" v="5295" actId="478"/>
          <ac:cxnSpMkLst>
            <pc:docMk/>
            <pc:sldMk cId="99050275" sldId="269"/>
            <ac:cxnSpMk id="78" creationId="{4CE02AA3-F469-41AE-8074-B3528A86A241}"/>
          </ac:cxnSpMkLst>
        </pc:cxnChg>
        <pc:cxnChg chg="add del mod">
          <ac:chgData name="Roussel, Gaetan" userId="269e9c6f-a5fe-49a6-9b6b-1c16ee3e16b1" providerId="ADAL" clId="{A43ED10B-C0D7-409E-AD3F-D6A5AE869F78}" dt="2022-06-26T13:52:29.148" v="5296" actId="478"/>
          <ac:cxnSpMkLst>
            <pc:docMk/>
            <pc:sldMk cId="99050275" sldId="269"/>
            <ac:cxnSpMk id="80" creationId="{69CE71D9-91E7-41A4-86A3-456F8B0107D8}"/>
          </ac:cxnSpMkLst>
        </pc:cxnChg>
      </pc:sldChg>
      <pc:sldChg chg="addSp delSp modSp add mod ord modNotesTx">
        <pc:chgData name="Roussel, Gaetan" userId="269e9c6f-a5fe-49a6-9b6b-1c16ee3e16b1" providerId="ADAL" clId="{A43ED10B-C0D7-409E-AD3F-D6A5AE869F78}" dt="2022-06-30T08:45:28.968" v="11508" actId="20577"/>
        <pc:sldMkLst>
          <pc:docMk/>
          <pc:sldMk cId="3661311600" sldId="270"/>
        </pc:sldMkLst>
        <pc:spChg chg="mod">
          <ac:chgData name="Roussel, Gaetan" userId="269e9c6f-a5fe-49a6-9b6b-1c16ee3e16b1" providerId="ADAL" clId="{A43ED10B-C0D7-409E-AD3F-D6A5AE869F78}" dt="2022-06-28T19:02:23.018" v="10407" actId="20577"/>
          <ac:spMkLst>
            <pc:docMk/>
            <pc:sldMk cId="3661311600" sldId="270"/>
            <ac:spMk id="2" creationId="{CB5A1A39-FEA5-45F0-8A95-1A2DE8823E7B}"/>
          </ac:spMkLst>
        </pc:spChg>
        <pc:spChg chg="add del mod">
          <ac:chgData name="Roussel, Gaetan" userId="269e9c6f-a5fe-49a6-9b6b-1c16ee3e16b1" providerId="ADAL" clId="{A43ED10B-C0D7-409E-AD3F-D6A5AE869F78}" dt="2022-06-28T18:36:25.245" v="9754" actId="478"/>
          <ac:spMkLst>
            <pc:docMk/>
            <pc:sldMk cId="3661311600" sldId="270"/>
            <ac:spMk id="3" creationId="{88401CCF-94D9-4737-955E-E43776E155E2}"/>
          </ac:spMkLst>
        </pc:spChg>
        <pc:spChg chg="mod topLvl">
          <ac:chgData name="Roussel, Gaetan" userId="269e9c6f-a5fe-49a6-9b6b-1c16ee3e16b1" providerId="ADAL" clId="{A43ED10B-C0D7-409E-AD3F-D6A5AE869F78}" dt="2022-06-30T08:16:04.316" v="11190" actId="165"/>
          <ac:spMkLst>
            <pc:docMk/>
            <pc:sldMk cId="3661311600" sldId="270"/>
            <ac:spMk id="5" creationId="{81E10ACE-8204-433C-A47C-CE8C4C39D474}"/>
          </ac:spMkLst>
        </pc:spChg>
        <pc:spChg chg="del">
          <ac:chgData name="Roussel, Gaetan" userId="269e9c6f-a5fe-49a6-9b6b-1c16ee3e16b1" providerId="ADAL" clId="{A43ED10B-C0D7-409E-AD3F-D6A5AE869F78}" dt="2022-06-27T13:12:22.117" v="7341" actId="478"/>
          <ac:spMkLst>
            <pc:docMk/>
            <pc:sldMk cId="3661311600" sldId="270"/>
            <ac:spMk id="8" creationId="{4818DEB8-EE23-4ED9-803D-DCCA250B0B49}"/>
          </ac:spMkLst>
        </pc:spChg>
        <pc:spChg chg="del">
          <ac:chgData name="Roussel, Gaetan" userId="269e9c6f-a5fe-49a6-9b6b-1c16ee3e16b1" providerId="ADAL" clId="{A43ED10B-C0D7-409E-AD3F-D6A5AE869F78}" dt="2022-06-26T11:18:06.783" v="2798" actId="478"/>
          <ac:spMkLst>
            <pc:docMk/>
            <pc:sldMk cId="3661311600" sldId="270"/>
            <ac:spMk id="10" creationId="{0A7632A1-F470-44E8-8B9D-388969850213}"/>
          </ac:spMkLst>
        </pc:spChg>
        <pc:spChg chg="add del mod">
          <ac:chgData name="Roussel, Gaetan" userId="269e9c6f-a5fe-49a6-9b6b-1c16ee3e16b1" providerId="ADAL" clId="{A43ED10B-C0D7-409E-AD3F-D6A5AE869F78}" dt="2022-06-26T11:40:32.300" v="3702" actId="478"/>
          <ac:spMkLst>
            <pc:docMk/>
            <pc:sldMk cId="3661311600" sldId="270"/>
            <ac:spMk id="15" creationId="{7CAD5C05-3A48-4D7C-A84F-BC4C4CC66019}"/>
          </ac:spMkLst>
        </pc:spChg>
        <pc:spChg chg="add del mod">
          <ac:chgData name="Roussel, Gaetan" userId="269e9c6f-a5fe-49a6-9b6b-1c16ee3e16b1" providerId="ADAL" clId="{A43ED10B-C0D7-409E-AD3F-D6A5AE869F78}" dt="2022-06-26T11:40:32.300" v="3702" actId="478"/>
          <ac:spMkLst>
            <pc:docMk/>
            <pc:sldMk cId="3661311600" sldId="270"/>
            <ac:spMk id="20" creationId="{927DEB3B-2F3B-4967-937F-907AE4B36EAC}"/>
          </ac:spMkLst>
        </pc:spChg>
        <pc:spChg chg="add del mod">
          <ac:chgData name="Roussel, Gaetan" userId="269e9c6f-a5fe-49a6-9b6b-1c16ee3e16b1" providerId="ADAL" clId="{A43ED10B-C0D7-409E-AD3F-D6A5AE869F78}" dt="2022-06-27T12:32:38.465" v="6967" actId="478"/>
          <ac:spMkLst>
            <pc:docMk/>
            <pc:sldMk cId="3661311600" sldId="270"/>
            <ac:spMk id="23" creationId="{343FB907-D56F-47EC-8683-C64DE7ED2DC8}"/>
          </ac:spMkLst>
        </pc:spChg>
        <pc:spChg chg="add del mod">
          <ac:chgData name="Roussel, Gaetan" userId="269e9c6f-a5fe-49a6-9b6b-1c16ee3e16b1" providerId="ADAL" clId="{A43ED10B-C0D7-409E-AD3F-D6A5AE869F78}" dt="2022-06-27T12:32:38.465" v="6967" actId="478"/>
          <ac:spMkLst>
            <pc:docMk/>
            <pc:sldMk cId="3661311600" sldId="270"/>
            <ac:spMk id="24" creationId="{E2B320C3-A844-483E-8398-C577AEDB2F8E}"/>
          </ac:spMkLst>
        </pc:spChg>
        <pc:spChg chg="add del mod">
          <ac:chgData name="Roussel, Gaetan" userId="269e9c6f-a5fe-49a6-9b6b-1c16ee3e16b1" providerId="ADAL" clId="{A43ED10B-C0D7-409E-AD3F-D6A5AE869F78}" dt="2022-06-27T12:32:38.465" v="6967" actId="478"/>
          <ac:spMkLst>
            <pc:docMk/>
            <pc:sldMk cId="3661311600" sldId="270"/>
            <ac:spMk id="25" creationId="{1A2401D8-DFAC-496B-B95F-B00851A41A02}"/>
          </ac:spMkLst>
        </pc:spChg>
        <pc:spChg chg="add del mod">
          <ac:chgData name="Roussel, Gaetan" userId="269e9c6f-a5fe-49a6-9b6b-1c16ee3e16b1" providerId="ADAL" clId="{A43ED10B-C0D7-409E-AD3F-D6A5AE869F78}" dt="2022-06-27T12:32:38.465" v="6967" actId="478"/>
          <ac:spMkLst>
            <pc:docMk/>
            <pc:sldMk cId="3661311600" sldId="270"/>
            <ac:spMk id="26" creationId="{8BB967F3-C8BC-49BD-824D-DB160BD59585}"/>
          </ac:spMkLst>
        </pc:spChg>
        <pc:spChg chg="add del mod">
          <ac:chgData name="Roussel, Gaetan" userId="269e9c6f-a5fe-49a6-9b6b-1c16ee3e16b1" providerId="ADAL" clId="{A43ED10B-C0D7-409E-AD3F-D6A5AE869F78}" dt="2022-06-27T12:32:38.465" v="6967" actId="478"/>
          <ac:spMkLst>
            <pc:docMk/>
            <pc:sldMk cId="3661311600" sldId="270"/>
            <ac:spMk id="27" creationId="{2CF96B4F-9D3B-4333-A24E-87322D44D018}"/>
          </ac:spMkLst>
        </pc:spChg>
        <pc:spChg chg="add del mod">
          <ac:chgData name="Roussel, Gaetan" userId="269e9c6f-a5fe-49a6-9b6b-1c16ee3e16b1" providerId="ADAL" clId="{A43ED10B-C0D7-409E-AD3F-D6A5AE869F78}" dt="2022-06-28T18:37:30.137" v="10016" actId="478"/>
          <ac:spMkLst>
            <pc:docMk/>
            <pc:sldMk cId="3661311600" sldId="270"/>
            <ac:spMk id="28" creationId="{E99EDF87-C26E-456F-8CA0-799E92485C0E}"/>
          </ac:spMkLst>
        </pc:spChg>
        <pc:spChg chg="mod">
          <ac:chgData name="Roussel, Gaetan" userId="269e9c6f-a5fe-49a6-9b6b-1c16ee3e16b1" providerId="ADAL" clId="{A43ED10B-C0D7-409E-AD3F-D6A5AE869F78}" dt="2022-06-26T11:39:26.847" v="3699"/>
          <ac:spMkLst>
            <pc:docMk/>
            <pc:sldMk cId="3661311600" sldId="270"/>
            <ac:spMk id="31" creationId="{7B233C2C-0A43-49AD-8B3B-F4D7A1CEA28C}"/>
          </ac:spMkLst>
        </pc:spChg>
        <pc:spChg chg="mod">
          <ac:chgData name="Roussel, Gaetan" userId="269e9c6f-a5fe-49a6-9b6b-1c16ee3e16b1" providerId="ADAL" clId="{A43ED10B-C0D7-409E-AD3F-D6A5AE869F78}" dt="2022-06-26T11:39:26.847" v="3699"/>
          <ac:spMkLst>
            <pc:docMk/>
            <pc:sldMk cId="3661311600" sldId="270"/>
            <ac:spMk id="32" creationId="{51EEBB79-84DA-4CE0-A17D-4313EAB52120}"/>
          </ac:spMkLst>
        </pc:spChg>
        <pc:spChg chg="mod">
          <ac:chgData name="Roussel, Gaetan" userId="269e9c6f-a5fe-49a6-9b6b-1c16ee3e16b1" providerId="ADAL" clId="{A43ED10B-C0D7-409E-AD3F-D6A5AE869F78}" dt="2022-06-26T11:39:26.847" v="3699"/>
          <ac:spMkLst>
            <pc:docMk/>
            <pc:sldMk cId="3661311600" sldId="270"/>
            <ac:spMk id="34" creationId="{72FC7B2F-C43B-4F45-94F8-A8EC2C06917B}"/>
          </ac:spMkLst>
        </pc:spChg>
        <pc:spChg chg="mod">
          <ac:chgData name="Roussel, Gaetan" userId="269e9c6f-a5fe-49a6-9b6b-1c16ee3e16b1" providerId="ADAL" clId="{A43ED10B-C0D7-409E-AD3F-D6A5AE869F78}" dt="2022-06-26T11:39:26.847" v="3699"/>
          <ac:spMkLst>
            <pc:docMk/>
            <pc:sldMk cId="3661311600" sldId="270"/>
            <ac:spMk id="35" creationId="{79E07FFC-AC00-41EE-9BA1-F32E3692D308}"/>
          </ac:spMkLst>
        </pc:spChg>
        <pc:spChg chg="add del mod">
          <ac:chgData name="Roussel, Gaetan" userId="269e9c6f-a5fe-49a6-9b6b-1c16ee3e16b1" providerId="ADAL" clId="{A43ED10B-C0D7-409E-AD3F-D6A5AE869F78}" dt="2022-06-28T18:37:30.137" v="10016" actId="478"/>
          <ac:spMkLst>
            <pc:docMk/>
            <pc:sldMk cId="3661311600" sldId="270"/>
            <ac:spMk id="40" creationId="{844B5908-9AC0-4195-9F00-5EE952F3306A}"/>
          </ac:spMkLst>
        </pc:spChg>
        <pc:spChg chg="add del mod">
          <ac:chgData name="Roussel, Gaetan" userId="269e9c6f-a5fe-49a6-9b6b-1c16ee3e16b1" providerId="ADAL" clId="{A43ED10B-C0D7-409E-AD3F-D6A5AE869F78}" dt="2022-06-28T18:37:30.137" v="10016" actId="478"/>
          <ac:spMkLst>
            <pc:docMk/>
            <pc:sldMk cId="3661311600" sldId="270"/>
            <ac:spMk id="41" creationId="{E4B29BCE-70B4-40BB-A379-CF705E527BBE}"/>
          </ac:spMkLst>
        </pc:spChg>
        <pc:spChg chg="mod">
          <ac:chgData name="Roussel, Gaetan" userId="269e9c6f-a5fe-49a6-9b6b-1c16ee3e16b1" providerId="ADAL" clId="{A43ED10B-C0D7-409E-AD3F-D6A5AE869F78}" dt="2022-06-26T11:56:11.912" v="4140" actId="2085"/>
          <ac:spMkLst>
            <pc:docMk/>
            <pc:sldMk cId="3661311600" sldId="270"/>
            <ac:spMk id="43" creationId="{128725B2-8815-4965-B264-1DE4B59AAB64}"/>
          </ac:spMkLst>
        </pc:spChg>
        <pc:spChg chg="mod">
          <ac:chgData name="Roussel, Gaetan" userId="269e9c6f-a5fe-49a6-9b6b-1c16ee3e16b1" providerId="ADAL" clId="{A43ED10B-C0D7-409E-AD3F-D6A5AE869F78}" dt="2022-06-26T11:57:39.037" v="4227" actId="790"/>
          <ac:spMkLst>
            <pc:docMk/>
            <pc:sldMk cId="3661311600" sldId="270"/>
            <ac:spMk id="44" creationId="{D8DA259C-ABA1-4055-8B8A-29A118A21CD8}"/>
          </ac:spMkLst>
        </pc:spChg>
        <pc:spChg chg="mod">
          <ac:chgData name="Roussel, Gaetan" userId="269e9c6f-a5fe-49a6-9b6b-1c16ee3e16b1" providerId="ADAL" clId="{A43ED10B-C0D7-409E-AD3F-D6A5AE869F78}" dt="2022-06-26T11:56:26.951" v="4142" actId="2085"/>
          <ac:spMkLst>
            <pc:docMk/>
            <pc:sldMk cId="3661311600" sldId="270"/>
            <ac:spMk id="46" creationId="{0EAB6798-3BEB-4E33-B255-EF43325F5CE9}"/>
          </ac:spMkLst>
        </pc:spChg>
        <pc:spChg chg="mod">
          <ac:chgData name="Roussel, Gaetan" userId="269e9c6f-a5fe-49a6-9b6b-1c16ee3e16b1" providerId="ADAL" clId="{A43ED10B-C0D7-409E-AD3F-D6A5AE869F78}" dt="2022-06-26T11:57:50.715" v="4228" actId="790"/>
          <ac:spMkLst>
            <pc:docMk/>
            <pc:sldMk cId="3661311600" sldId="270"/>
            <ac:spMk id="47" creationId="{28CC0846-ED49-4EF0-A67D-B74AE8BE8815}"/>
          </ac:spMkLst>
        </pc:spChg>
        <pc:spChg chg="mod">
          <ac:chgData name="Roussel, Gaetan" userId="269e9c6f-a5fe-49a6-9b6b-1c16ee3e16b1" providerId="ADAL" clId="{A43ED10B-C0D7-409E-AD3F-D6A5AE869F78}" dt="2022-06-26T11:56:38.366" v="4144" actId="2085"/>
          <ac:spMkLst>
            <pc:docMk/>
            <pc:sldMk cId="3661311600" sldId="270"/>
            <ac:spMk id="49" creationId="{3E901F0D-6F34-4E18-A5DC-1AC07CAEEE43}"/>
          </ac:spMkLst>
        </pc:spChg>
        <pc:spChg chg="mod">
          <ac:chgData name="Roussel, Gaetan" userId="269e9c6f-a5fe-49a6-9b6b-1c16ee3e16b1" providerId="ADAL" clId="{A43ED10B-C0D7-409E-AD3F-D6A5AE869F78}" dt="2022-06-26T11:57:55.390" v="4229" actId="790"/>
          <ac:spMkLst>
            <pc:docMk/>
            <pc:sldMk cId="3661311600" sldId="270"/>
            <ac:spMk id="50" creationId="{BD763CD9-9DA0-4A08-9522-6EC477BD6F54}"/>
          </ac:spMkLst>
        </pc:spChg>
        <pc:spChg chg="add del mod">
          <ac:chgData name="Roussel, Gaetan" userId="269e9c6f-a5fe-49a6-9b6b-1c16ee3e16b1" providerId="ADAL" clId="{A43ED10B-C0D7-409E-AD3F-D6A5AE869F78}" dt="2022-06-26T11:40:32.300" v="3702" actId="478"/>
          <ac:spMkLst>
            <pc:docMk/>
            <pc:sldMk cId="3661311600" sldId="270"/>
            <ac:spMk id="52" creationId="{A56BDD0A-3AD3-4E02-937E-E5C091FB30F8}"/>
          </ac:spMkLst>
        </pc:spChg>
        <pc:spChg chg="add del mod">
          <ac:chgData name="Roussel, Gaetan" userId="269e9c6f-a5fe-49a6-9b6b-1c16ee3e16b1" providerId="ADAL" clId="{A43ED10B-C0D7-409E-AD3F-D6A5AE869F78}" dt="2022-06-26T11:40:32.300" v="3702" actId="478"/>
          <ac:spMkLst>
            <pc:docMk/>
            <pc:sldMk cId="3661311600" sldId="270"/>
            <ac:spMk id="53" creationId="{86EF81C2-6D19-42AF-AD5F-AD015096C519}"/>
          </ac:spMkLst>
        </pc:spChg>
        <pc:spChg chg="mod">
          <ac:chgData name="Roussel, Gaetan" userId="269e9c6f-a5fe-49a6-9b6b-1c16ee3e16b1" providerId="ADAL" clId="{A43ED10B-C0D7-409E-AD3F-D6A5AE869F78}" dt="2022-06-26T11:39:26.847" v="3699"/>
          <ac:spMkLst>
            <pc:docMk/>
            <pc:sldMk cId="3661311600" sldId="270"/>
            <ac:spMk id="56" creationId="{075D8492-FBC8-4617-BDA4-F08C6BCAA68B}"/>
          </ac:spMkLst>
        </pc:spChg>
        <pc:spChg chg="mod">
          <ac:chgData name="Roussel, Gaetan" userId="269e9c6f-a5fe-49a6-9b6b-1c16ee3e16b1" providerId="ADAL" clId="{A43ED10B-C0D7-409E-AD3F-D6A5AE869F78}" dt="2022-06-26T11:39:26.847" v="3699"/>
          <ac:spMkLst>
            <pc:docMk/>
            <pc:sldMk cId="3661311600" sldId="270"/>
            <ac:spMk id="58" creationId="{DB315349-0CC0-4B1B-9158-7AE4847BACEC}"/>
          </ac:spMkLst>
        </pc:spChg>
        <pc:spChg chg="mod">
          <ac:chgData name="Roussel, Gaetan" userId="269e9c6f-a5fe-49a6-9b6b-1c16ee3e16b1" providerId="ADAL" clId="{A43ED10B-C0D7-409E-AD3F-D6A5AE869F78}" dt="2022-06-26T11:39:26.847" v="3699"/>
          <ac:spMkLst>
            <pc:docMk/>
            <pc:sldMk cId="3661311600" sldId="270"/>
            <ac:spMk id="59" creationId="{04EAC9F6-AFF5-4CED-B78D-A35EEC6AB2BB}"/>
          </ac:spMkLst>
        </pc:spChg>
        <pc:spChg chg="mod">
          <ac:chgData name="Roussel, Gaetan" userId="269e9c6f-a5fe-49a6-9b6b-1c16ee3e16b1" providerId="ADAL" clId="{A43ED10B-C0D7-409E-AD3F-D6A5AE869F78}" dt="2022-06-26T11:39:26.847" v="3699"/>
          <ac:spMkLst>
            <pc:docMk/>
            <pc:sldMk cId="3661311600" sldId="270"/>
            <ac:spMk id="60" creationId="{07823DBA-F43E-49CF-B023-06C4F42F48FB}"/>
          </ac:spMkLst>
        </pc:spChg>
        <pc:spChg chg="mod">
          <ac:chgData name="Roussel, Gaetan" userId="269e9c6f-a5fe-49a6-9b6b-1c16ee3e16b1" providerId="ADAL" clId="{A43ED10B-C0D7-409E-AD3F-D6A5AE869F78}" dt="2022-06-26T11:39:26.847" v="3699"/>
          <ac:spMkLst>
            <pc:docMk/>
            <pc:sldMk cId="3661311600" sldId="270"/>
            <ac:spMk id="61" creationId="{49E22FFC-6685-43AD-8F3E-3B9A9D1666CB}"/>
          </ac:spMkLst>
        </pc:spChg>
        <pc:spChg chg="mod">
          <ac:chgData name="Roussel, Gaetan" userId="269e9c6f-a5fe-49a6-9b6b-1c16ee3e16b1" providerId="ADAL" clId="{A43ED10B-C0D7-409E-AD3F-D6A5AE869F78}" dt="2022-06-26T11:39:26.847" v="3699"/>
          <ac:spMkLst>
            <pc:docMk/>
            <pc:sldMk cId="3661311600" sldId="270"/>
            <ac:spMk id="62" creationId="{EB058FCC-EA98-453F-A110-168778D7EAF9}"/>
          </ac:spMkLst>
        </pc:spChg>
        <pc:spChg chg="add del mod">
          <ac:chgData name="Roussel, Gaetan" userId="269e9c6f-a5fe-49a6-9b6b-1c16ee3e16b1" providerId="ADAL" clId="{A43ED10B-C0D7-409E-AD3F-D6A5AE869F78}" dt="2022-06-27T12:32:41.507" v="6968" actId="478"/>
          <ac:spMkLst>
            <pc:docMk/>
            <pc:sldMk cId="3661311600" sldId="270"/>
            <ac:spMk id="64" creationId="{D16364D7-C842-42B6-835A-78BA433A99DE}"/>
          </ac:spMkLst>
        </pc:spChg>
        <pc:spChg chg="add mod">
          <ac:chgData name="Roussel, Gaetan" userId="269e9c6f-a5fe-49a6-9b6b-1c16ee3e16b1" providerId="ADAL" clId="{A43ED10B-C0D7-409E-AD3F-D6A5AE869F78}" dt="2022-06-28T18:55:51.475" v="10334" actId="21"/>
          <ac:spMkLst>
            <pc:docMk/>
            <pc:sldMk cId="3661311600" sldId="270"/>
            <ac:spMk id="65" creationId="{FB383B82-9C04-4E6C-9E6A-638CBAD1B5AA}"/>
          </ac:spMkLst>
        </pc:spChg>
        <pc:spChg chg="mod">
          <ac:chgData name="Roussel, Gaetan" userId="269e9c6f-a5fe-49a6-9b6b-1c16ee3e16b1" providerId="ADAL" clId="{A43ED10B-C0D7-409E-AD3F-D6A5AE869F78}" dt="2022-06-26T11:45:03.140" v="3752"/>
          <ac:spMkLst>
            <pc:docMk/>
            <pc:sldMk cId="3661311600" sldId="270"/>
            <ac:spMk id="67" creationId="{B7172940-1407-4762-9759-8F63E127970E}"/>
          </ac:spMkLst>
        </pc:spChg>
        <pc:spChg chg="mod">
          <ac:chgData name="Roussel, Gaetan" userId="269e9c6f-a5fe-49a6-9b6b-1c16ee3e16b1" providerId="ADAL" clId="{A43ED10B-C0D7-409E-AD3F-D6A5AE869F78}" dt="2022-06-26T11:45:03.140" v="3752"/>
          <ac:spMkLst>
            <pc:docMk/>
            <pc:sldMk cId="3661311600" sldId="270"/>
            <ac:spMk id="68" creationId="{C2630A3B-0F59-4F7E-9EC7-CA3B42909C63}"/>
          </ac:spMkLst>
        </pc:spChg>
        <pc:spChg chg="add mod">
          <ac:chgData name="Roussel, Gaetan" userId="269e9c6f-a5fe-49a6-9b6b-1c16ee3e16b1" providerId="ADAL" clId="{A43ED10B-C0D7-409E-AD3F-D6A5AE869F78}" dt="2022-06-30T08:23:14.930" v="11277" actId="20577"/>
          <ac:spMkLst>
            <pc:docMk/>
            <pc:sldMk cId="3661311600" sldId="270"/>
            <ac:spMk id="69" creationId="{7D878AFE-EC79-40DB-A93E-7FFD0760E57A}"/>
          </ac:spMkLst>
        </pc:spChg>
        <pc:spChg chg="add del mod">
          <ac:chgData name="Roussel, Gaetan" userId="269e9c6f-a5fe-49a6-9b6b-1c16ee3e16b1" providerId="ADAL" clId="{A43ED10B-C0D7-409E-AD3F-D6A5AE869F78}" dt="2022-06-28T18:37:30.137" v="10016" actId="478"/>
          <ac:spMkLst>
            <pc:docMk/>
            <pc:sldMk cId="3661311600" sldId="270"/>
            <ac:spMk id="70" creationId="{1BF0588B-39FE-4B6C-BE51-C85698ED3866}"/>
          </ac:spMkLst>
        </pc:spChg>
        <pc:spChg chg="add del mod">
          <ac:chgData name="Roussel, Gaetan" userId="269e9c6f-a5fe-49a6-9b6b-1c16ee3e16b1" providerId="ADAL" clId="{A43ED10B-C0D7-409E-AD3F-D6A5AE869F78}" dt="2022-06-28T18:37:36.171" v="10019" actId="478"/>
          <ac:spMkLst>
            <pc:docMk/>
            <pc:sldMk cId="3661311600" sldId="270"/>
            <ac:spMk id="71" creationId="{00F7754D-0952-490B-B928-D8D1C19B1A2B}"/>
          </ac:spMkLst>
        </pc:spChg>
        <pc:spChg chg="add del mod">
          <ac:chgData name="Roussel, Gaetan" userId="269e9c6f-a5fe-49a6-9b6b-1c16ee3e16b1" providerId="ADAL" clId="{A43ED10B-C0D7-409E-AD3F-D6A5AE869F78}" dt="2022-06-28T18:37:35.622" v="10018" actId="478"/>
          <ac:spMkLst>
            <pc:docMk/>
            <pc:sldMk cId="3661311600" sldId="270"/>
            <ac:spMk id="72" creationId="{C286552A-A7B0-47C8-BE99-6B893EA2E830}"/>
          </ac:spMkLst>
        </pc:spChg>
        <pc:spChg chg="add del mod">
          <ac:chgData name="Roussel, Gaetan" userId="269e9c6f-a5fe-49a6-9b6b-1c16ee3e16b1" providerId="ADAL" clId="{A43ED10B-C0D7-409E-AD3F-D6A5AE869F78}" dt="2022-06-28T18:36:26.347" v="9755" actId="478"/>
          <ac:spMkLst>
            <pc:docMk/>
            <pc:sldMk cId="3661311600" sldId="270"/>
            <ac:spMk id="74" creationId="{8B492C1F-77C2-4137-B428-80674EEF3D6B}"/>
          </ac:spMkLst>
        </pc:spChg>
        <pc:spChg chg="add del mod">
          <ac:chgData name="Roussel, Gaetan" userId="269e9c6f-a5fe-49a6-9b6b-1c16ee3e16b1" providerId="ADAL" clId="{A43ED10B-C0D7-409E-AD3F-D6A5AE869F78}" dt="2022-06-28T13:26:51.834" v="9299" actId="478"/>
          <ac:spMkLst>
            <pc:docMk/>
            <pc:sldMk cId="3661311600" sldId="270"/>
            <ac:spMk id="75" creationId="{2AC4A3B3-B214-4F87-BDE4-207598F3D03C}"/>
          </ac:spMkLst>
        </pc:spChg>
        <pc:spChg chg="add del mod">
          <ac:chgData name="Roussel, Gaetan" userId="269e9c6f-a5fe-49a6-9b6b-1c16ee3e16b1" providerId="ADAL" clId="{A43ED10B-C0D7-409E-AD3F-D6A5AE869F78}" dt="2022-06-28T18:36:27.635" v="9756" actId="478"/>
          <ac:spMkLst>
            <pc:docMk/>
            <pc:sldMk cId="3661311600" sldId="270"/>
            <ac:spMk id="77" creationId="{6E866D23-29F4-4ED3-95D7-BC4F421D81C6}"/>
          </ac:spMkLst>
        </pc:spChg>
        <pc:spChg chg="add del mod topLvl">
          <ac:chgData name="Roussel, Gaetan" userId="269e9c6f-a5fe-49a6-9b6b-1c16ee3e16b1" providerId="ADAL" clId="{A43ED10B-C0D7-409E-AD3F-D6A5AE869F78}" dt="2022-06-28T19:08:31.388" v="10564" actId="12789"/>
          <ac:spMkLst>
            <pc:docMk/>
            <pc:sldMk cId="3661311600" sldId="270"/>
            <ac:spMk id="78" creationId="{B5D1F6FB-98A2-4B9E-852B-0AA7D6550280}"/>
          </ac:spMkLst>
        </pc:spChg>
        <pc:spChg chg="add del mod">
          <ac:chgData name="Roussel, Gaetan" userId="269e9c6f-a5fe-49a6-9b6b-1c16ee3e16b1" providerId="ADAL" clId="{A43ED10B-C0D7-409E-AD3F-D6A5AE869F78}" dt="2022-06-28T18:52:34.399" v="10043" actId="478"/>
          <ac:spMkLst>
            <pc:docMk/>
            <pc:sldMk cId="3661311600" sldId="270"/>
            <ac:spMk id="79" creationId="{1F8B712C-F47C-423C-A5F8-F476A730E0A3}"/>
          </ac:spMkLst>
        </pc:spChg>
        <pc:spChg chg="add del mod">
          <ac:chgData name="Roussel, Gaetan" userId="269e9c6f-a5fe-49a6-9b6b-1c16ee3e16b1" providerId="ADAL" clId="{A43ED10B-C0D7-409E-AD3F-D6A5AE869F78}" dt="2022-06-28T18:55:39.002" v="10329"/>
          <ac:spMkLst>
            <pc:docMk/>
            <pc:sldMk cId="3661311600" sldId="270"/>
            <ac:spMk id="80" creationId="{1D0A5A79-5A2F-4744-93D7-311BEBC3DE66}"/>
          </ac:spMkLst>
        </pc:spChg>
        <pc:spChg chg="add del mod">
          <ac:chgData name="Roussel, Gaetan" userId="269e9c6f-a5fe-49a6-9b6b-1c16ee3e16b1" providerId="ADAL" clId="{A43ED10B-C0D7-409E-AD3F-D6A5AE869F78}" dt="2022-06-28T18:55:33.790" v="10319"/>
          <ac:spMkLst>
            <pc:docMk/>
            <pc:sldMk cId="3661311600" sldId="270"/>
            <ac:spMk id="81" creationId="{A87C8783-27FA-4409-9331-25347D10E806}"/>
          </ac:spMkLst>
        </pc:spChg>
        <pc:spChg chg="add del mod">
          <ac:chgData name="Roussel, Gaetan" userId="269e9c6f-a5fe-49a6-9b6b-1c16ee3e16b1" providerId="ADAL" clId="{A43ED10B-C0D7-409E-AD3F-D6A5AE869F78}" dt="2022-06-28T18:58:47.036" v="10361" actId="478"/>
          <ac:spMkLst>
            <pc:docMk/>
            <pc:sldMk cId="3661311600" sldId="270"/>
            <ac:spMk id="83" creationId="{B8EDF404-1708-4702-9B14-56EEB07BA402}"/>
          </ac:spMkLst>
        </pc:spChg>
        <pc:spChg chg="add mod topLvl">
          <ac:chgData name="Roussel, Gaetan" userId="269e9c6f-a5fe-49a6-9b6b-1c16ee3e16b1" providerId="ADAL" clId="{A43ED10B-C0D7-409E-AD3F-D6A5AE869F78}" dt="2022-06-28T19:08:31.388" v="10564" actId="12789"/>
          <ac:spMkLst>
            <pc:docMk/>
            <pc:sldMk cId="3661311600" sldId="270"/>
            <ac:spMk id="84" creationId="{4B88A5F4-8E83-4BA8-BCD8-56B9F8E84D00}"/>
          </ac:spMkLst>
        </pc:spChg>
        <pc:spChg chg="add mod">
          <ac:chgData name="Roussel, Gaetan" userId="269e9c6f-a5fe-49a6-9b6b-1c16ee3e16b1" providerId="ADAL" clId="{A43ED10B-C0D7-409E-AD3F-D6A5AE869F78}" dt="2022-06-28T19:05:08.589" v="10505" actId="20577"/>
          <ac:spMkLst>
            <pc:docMk/>
            <pc:sldMk cId="3661311600" sldId="270"/>
            <ac:spMk id="86" creationId="{ADE0431E-5F5C-43FD-B611-94A4F733DDB5}"/>
          </ac:spMkLst>
        </pc:spChg>
        <pc:spChg chg="add del mod topLvl">
          <ac:chgData name="Roussel, Gaetan" userId="269e9c6f-a5fe-49a6-9b6b-1c16ee3e16b1" providerId="ADAL" clId="{A43ED10B-C0D7-409E-AD3F-D6A5AE869F78}" dt="2022-06-28T19:07:54.896" v="10559" actId="12788"/>
          <ac:spMkLst>
            <pc:docMk/>
            <pc:sldMk cId="3661311600" sldId="270"/>
            <ac:spMk id="88" creationId="{7242F18A-AC26-400C-BE2B-A0B19DA92720}"/>
          </ac:spMkLst>
        </pc:spChg>
        <pc:spChg chg="add del mod topLvl">
          <ac:chgData name="Roussel, Gaetan" userId="269e9c6f-a5fe-49a6-9b6b-1c16ee3e16b1" providerId="ADAL" clId="{A43ED10B-C0D7-409E-AD3F-D6A5AE869F78}" dt="2022-06-28T19:02:41.323" v="10413" actId="478"/>
          <ac:spMkLst>
            <pc:docMk/>
            <pc:sldMk cId="3661311600" sldId="270"/>
            <ac:spMk id="89" creationId="{A2D5CDCB-3647-4963-B2F2-C672B45D5263}"/>
          </ac:spMkLst>
        </pc:spChg>
        <pc:spChg chg="add mod">
          <ac:chgData name="Roussel, Gaetan" userId="269e9c6f-a5fe-49a6-9b6b-1c16ee3e16b1" providerId="ADAL" clId="{A43ED10B-C0D7-409E-AD3F-D6A5AE869F78}" dt="2022-06-28T19:05:26.205" v="10527" actId="12788"/>
          <ac:spMkLst>
            <pc:docMk/>
            <pc:sldMk cId="3661311600" sldId="270"/>
            <ac:spMk id="93" creationId="{DA072F35-3740-44E8-B17A-024AECB4C3E1}"/>
          </ac:spMkLst>
        </pc:spChg>
        <pc:spChg chg="add mod ord">
          <ac:chgData name="Roussel, Gaetan" userId="269e9c6f-a5fe-49a6-9b6b-1c16ee3e16b1" providerId="ADAL" clId="{A43ED10B-C0D7-409E-AD3F-D6A5AE869F78}" dt="2022-06-28T19:08:47.372" v="10566" actId="14100"/>
          <ac:spMkLst>
            <pc:docMk/>
            <pc:sldMk cId="3661311600" sldId="270"/>
            <ac:spMk id="94" creationId="{384D0207-538B-4D36-85F0-E70E17A01DD8}"/>
          </ac:spMkLst>
        </pc:spChg>
        <pc:spChg chg="add mod ord">
          <ac:chgData name="Roussel, Gaetan" userId="269e9c6f-a5fe-49a6-9b6b-1c16ee3e16b1" providerId="ADAL" clId="{A43ED10B-C0D7-409E-AD3F-D6A5AE869F78}" dt="2022-06-28T19:08:03.455" v="10560" actId="14100"/>
          <ac:spMkLst>
            <pc:docMk/>
            <pc:sldMk cId="3661311600" sldId="270"/>
            <ac:spMk id="95" creationId="{458BEC36-35DB-4DBD-B385-6D73E8B2E20F}"/>
          </ac:spMkLst>
        </pc:spChg>
        <pc:grpChg chg="del">
          <ac:chgData name="Roussel, Gaetan" userId="269e9c6f-a5fe-49a6-9b6b-1c16ee3e16b1" providerId="ADAL" clId="{A43ED10B-C0D7-409E-AD3F-D6A5AE869F78}" dt="2022-06-30T08:16:04.316" v="11190" actId="165"/>
          <ac:grpSpMkLst>
            <pc:docMk/>
            <pc:sldMk cId="3661311600" sldId="270"/>
            <ac:grpSpMk id="4" creationId="{53882DFE-8A8B-4EA2-8E53-18DC598F9180}"/>
          </ac:grpSpMkLst>
        </pc:grpChg>
        <pc:grpChg chg="del">
          <ac:chgData name="Roussel, Gaetan" userId="269e9c6f-a5fe-49a6-9b6b-1c16ee3e16b1" providerId="ADAL" clId="{A43ED10B-C0D7-409E-AD3F-D6A5AE869F78}" dt="2022-06-26T11:18:07.669" v="2799" actId="478"/>
          <ac:grpSpMkLst>
            <pc:docMk/>
            <pc:sldMk cId="3661311600" sldId="270"/>
            <ac:grpSpMk id="11" creationId="{5061F58C-3A2E-406B-837D-2668939AD10E}"/>
          </ac:grpSpMkLst>
        </pc:grpChg>
        <pc:grpChg chg="add del mod">
          <ac:chgData name="Roussel, Gaetan" userId="269e9c6f-a5fe-49a6-9b6b-1c16ee3e16b1" providerId="ADAL" clId="{A43ED10B-C0D7-409E-AD3F-D6A5AE869F78}" dt="2022-06-26T11:40:32.300" v="3702" actId="478"/>
          <ac:grpSpMkLst>
            <pc:docMk/>
            <pc:sldMk cId="3661311600" sldId="270"/>
            <ac:grpSpMk id="30" creationId="{98B03506-5A9C-4EE1-8A59-B0440F79F3F8}"/>
          </ac:grpSpMkLst>
        </pc:grpChg>
        <pc:grpChg chg="add del mod">
          <ac:chgData name="Roussel, Gaetan" userId="269e9c6f-a5fe-49a6-9b6b-1c16ee3e16b1" providerId="ADAL" clId="{A43ED10B-C0D7-409E-AD3F-D6A5AE869F78}" dt="2022-06-26T11:40:32.300" v="3702" actId="478"/>
          <ac:grpSpMkLst>
            <pc:docMk/>
            <pc:sldMk cId="3661311600" sldId="270"/>
            <ac:grpSpMk id="33" creationId="{7057EDDC-F006-4109-B8A0-93257FE3D97F}"/>
          </ac:grpSpMkLst>
        </pc:grpChg>
        <pc:grpChg chg="add del mod">
          <ac:chgData name="Roussel, Gaetan" userId="269e9c6f-a5fe-49a6-9b6b-1c16ee3e16b1" providerId="ADAL" clId="{A43ED10B-C0D7-409E-AD3F-D6A5AE869F78}" dt="2022-06-27T12:32:38.465" v="6967" actId="478"/>
          <ac:grpSpMkLst>
            <pc:docMk/>
            <pc:sldMk cId="3661311600" sldId="270"/>
            <ac:grpSpMk id="36" creationId="{1884CC69-F329-431A-9DE0-46175B03F030}"/>
          </ac:grpSpMkLst>
        </pc:grpChg>
        <pc:grpChg chg="add del mod">
          <ac:chgData name="Roussel, Gaetan" userId="269e9c6f-a5fe-49a6-9b6b-1c16ee3e16b1" providerId="ADAL" clId="{A43ED10B-C0D7-409E-AD3F-D6A5AE869F78}" dt="2022-06-28T18:37:30.137" v="10016" actId="478"/>
          <ac:grpSpMkLst>
            <pc:docMk/>
            <pc:sldMk cId="3661311600" sldId="270"/>
            <ac:grpSpMk id="42" creationId="{4DB7841D-3F82-4A2F-AC23-8D267D13B361}"/>
          </ac:grpSpMkLst>
        </pc:grpChg>
        <pc:grpChg chg="add del mod">
          <ac:chgData name="Roussel, Gaetan" userId="269e9c6f-a5fe-49a6-9b6b-1c16ee3e16b1" providerId="ADAL" clId="{A43ED10B-C0D7-409E-AD3F-D6A5AE869F78}" dt="2022-06-28T18:37:30.137" v="10016" actId="478"/>
          <ac:grpSpMkLst>
            <pc:docMk/>
            <pc:sldMk cId="3661311600" sldId="270"/>
            <ac:grpSpMk id="45" creationId="{4BBFBE85-90C9-4A2A-8815-60DA8580E93D}"/>
          </ac:grpSpMkLst>
        </pc:grpChg>
        <pc:grpChg chg="add del mod">
          <ac:chgData name="Roussel, Gaetan" userId="269e9c6f-a5fe-49a6-9b6b-1c16ee3e16b1" providerId="ADAL" clId="{A43ED10B-C0D7-409E-AD3F-D6A5AE869F78}" dt="2022-06-28T18:37:30.137" v="10016" actId="478"/>
          <ac:grpSpMkLst>
            <pc:docMk/>
            <pc:sldMk cId="3661311600" sldId="270"/>
            <ac:grpSpMk id="48" creationId="{843A4B10-1823-43AE-AD07-CED05BF1E17D}"/>
          </ac:grpSpMkLst>
        </pc:grpChg>
        <pc:grpChg chg="add del mod">
          <ac:chgData name="Roussel, Gaetan" userId="269e9c6f-a5fe-49a6-9b6b-1c16ee3e16b1" providerId="ADAL" clId="{A43ED10B-C0D7-409E-AD3F-D6A5AE869F78}" dt="2022-06-26T11:40:32.300" v="3702" actId="478"/>
          <ac:grpSpMkLst>
            <pc:docMk/>
            <pc:sldMk cId="3661311600" sldId="270"/>
            <ac:grpSpMk id="54" creationId="{F80CDB00-9ED2-493A-B4B6-0B44A99CC022}"/>
          </ac:grpSpMkLst>
        </pc:grpChg>
        <pc:grpChg chg="mod">
          <ac:chgData name="Roussel, Gaetan" userId="269e9c6f-a5fe-49a6-9b6b-1c16ee3e16b1" providerId="ADAL" clId="{A43ED10B-C0D7-409E-AD3F-D6A5AE869F78}" dt="2022-06-26T11:39:26.847" v="3699"/>
          <ac:grpSpMkLst>
            <pc:docMk/>
            <pc:sldMk cId="3661311600" sldId="270"/>
            <ac:grpSpMk id="55" creationId="{9BC8BE45-51EA-4138-8AB7-F57D6BFFA2C5}"/>
          </ac:grpSpMkLst>
        </pc:grpChg>
        <pc:grpChg chg="mod">
          <ac:chgData name="Roussel, Gaetan" userId="269e9c6f-a5fe-49a6-9b6b-1c16ee3e16b1" providerId="ADAL" clId="{A43ED10B-C0D7-409E-AD3F-D6A5AE869F78}" dt="2022-06-26T11:39:26.847" v="3699"/>
          <ac:grpSpMkLst>
            <pc:docMk/>
            <pc:sldMk cId="3661311600" sldId="270"/>
            <ac:grpSpMk id="57" creationId="{8327919F-CD6A-42E5-AC3E-6514BBBA5373}"/>
          </ac:grpSpMkLst>
        </pc:grpChg>
        <pc:grpChg chg="add mod">
          <ac:chgData name="Roussel, Gaetan" userId="269e9c6f-a5fe-49a6-9b6b-1c16ee3e16b1" providerId="ADAL" clId="{A43ED10B-C0D7-409E-AD3F-D6A5AE869F78}" dt="2022-06-26T11:51:38.127" v="4062" actId="1036"/>
          <ac:grpSpMkLst>
            <pc:docMk/>
            <pc:sldMk cId="3661311600" sldId="270"/>
            <ac:grpSpMk id="66" creationId="{C230EDBF-5666-45DA-8C8A-BBFF52AAFFEE}"/>
          </ac:grpSpMkLst>
        </pc:grpChg>
        <pc:grpChg chg="add del mod">
          <ac:chgData name="Roussel, Gaetan" userId="269e9c6f-a5fe-49a6-9b6b-1c16ee3e16b1" providerId="ADAL" clId="{A43ED10B-C0D7-409E-AD3F-D6A5AE869F78}" dt="2022-06-28T19:07:31.644" v="10556" actId="165"/>
          <ac:grpSpMkLst>
            <pc:docMk/>
            <pc:sldMk cId="3661311600" sldId="270"/>
            <ac:grpSpMk id="85" creationId="{8BE23135-BF8C-4E26-BE5C-09699781332B}"/>
          </ac:grpSpMkLst>
        </pc:grpChg>
        <pc:grpChg chg="add del mod">
          <ac:chgData name="Roussel, Gaetan" userId="269e9c6f-a5fe-49a6-9b6b-1c16ee3e16b1" providerId="ADAL" clId="{A43ED10B-C0D7-409E-AD3F-D6A5AE869F78}" dt="2022-06-28T19:02:34.098" v="10410" actId="165"/>
          <ac:grpSpMkLst>
            <pc:docMk/>
            <pc:sldMk cId="3661311600" sldId="270"/>
            <ac:grpSpMk id="87" creationId="{36C6E8C4-B703-433C-866A-3CADCCB7D1B0}"/>
          </ac:grpSpMkLst>
        </pc:grpChg>
        <pc:graphicFrameChg chg="add del mod">
          <ac:chgData name="Roussel, Gaetan" userId="269e9c6f-a5fe-49a6-9b6b-1c16ee3e16b1" providerId="ADAL" clId="{A43ED10B-C0D7-409E-AD3F-D6A5AE869F78}" dt="2022-06-28T18:37:30.137" v="10016" actId="478"/>
          <ac:graphicFrameMkLst>
            <pc:docMk/>
            <pc:sldMk cId="3661311600" sldId="270"/>
            <ac:graphicFrameMk id="14" creationId="{2CDDFED9-2BC8-443E-8DB6-AF8CB15FAEDA}"/>
          </ac:graphicFrameMkLst>
        </pc:graphicFrameChg>
        <pc:graphicFrameChg chg="add del mod">
          <ac:chgData name="Roussel, Gaetan" userId="269e9c6f-a5fe-49a6-9b6b-1c16ee3e16b1" providerId="ADAL" clId="{A43ED10B-C0D7-409E-AD3F-D6A5AE869F78}" dt="2022-06-27T12:32:38.465" v="6967" actId="478"/>
          <ac:graphicFrameMkLst>
            <pc:docMk/>
            <pc:sldMk cId="3661311600" sldId="270"/>
            <ac:graphicFrameMk id="16" creationId="{83C8BBF0-AE01-4935-B987-F7ACAAB751B0}"/>
          </ac:graphicFrameMkLst>
        </pc:graphicFrameChg>
        <pc:graphicFrameChg chg="add del mod">
          <ac:chgData name="Roussel, Gaetan" userId="269e9c6f-a5fe-49a6-9b6b-1c16ee3e16b1" providerId="ADAL" clId="{A43ED10B-C0D7-409E-AD3F-D6A5AE869F78}" dt="2022-06-27T12:32:38.465" v="6967" actId="478"/>
          <ac:graphicFrameMkLst>
            <pc:docMk/>
            <pc:sldMk cId="3661311600" sldId="270"/>
            <ac:graphicFrameMk id="17" creationId="{5C02A24F-F9B2-4F84-802B-1C631516963C}"/>
          </ac:graphicFrameMkLst>
        </pc:graphicFrameChg>
        <pc:graphicFrameChg chg="add del mod">
          <ac:chgData name="Roussel, Gaetan" userId="269e9c6f-a5fe-49a6-9b6b-1c16ee3e16b1" providerId="ADAL" clId="{A43ED10B-C0D7-409E-AD3F-D6A5AE869F78}" dt="2022-06-27T12:32:38.465" v="6967" actId="478"/>
          <ac:graphicFrameMkLst>
            <pc:docMk/>
            <pc:sldMk cId="3661311600" sldId="270"/>
            <ac:graphicFrameMk id="18" creationId="{DCFE2928-F431-4FE2-A4AB-CC18DA1E7CD3}"/>
          </ac:graphicFrameMkLst>
        </pc:graphicFrameChg>
        <pc:graphicFrameChg chg="add del mod">
          <ac:chgData name="Roussel, Gaetan" userId="269e9c6f-a5fe-49a6-9b6b-1c16ee3e16b1" providerId="ADAL" clId="{A43ED10B-C0D7-409E-AD3F-D6A5AE869F78}" dt="2022-06-27T12:32:38.465" v="6967" actId="478"/>
          <ac:graphicFrameMkLst>
            <pc:docMk/>
            <pc:sldMk cId="3661311600" sldId="270"/>
            <ac:graphicFrameMk id="21" creationId="{7D470078-D797-449C-AAB8-A2023DC7B320}"/>
          </ac:graphicFrameMkLst>
        </pc:graphicFrameChg>
        <pc:graphicFrameChg chg="add del mod">
          <ac:chgData name="Roussel, Gaetan" userId="269e9c6f-a5fe-49a6-9b6b-1c16ee3e16b1" providerId="ADAL" clId="{A43ED10B-C0D7-409E-AD3F-D6A5AE869F78}" dt="2022-06-27T12:32:38.465" v="6967" actId="478"/>
          <ac:graphicFrameMkLst>
            <pc:docMk/>
            <pc:sldMk cId="3661311600" sldId="270"/>
            <ac:graphicFrameMk id="22" creationId="{1D94B3C0-C327-4C67-A604-B4684CEAEA82}"/>
          </ac:graphicFrameMkLst>
        </pc:graphicFrameChg>
        <pc:graphicFrameChg chg="add del mod">
          <ac:chgData name="Roussel, Gaetan" userId="269e9c6f-a5fe-49a6-9b6b-1c16ee3e16b1" providerId="ADAL" clId="{A43ED10B-C0D7-409E-AD3F-D6A5AE869F78}" dt="2022-06-27T12:32:44.024" v="6969" actId="478"/>
          <ac:graphicFrameMkLst>
            <pc:docMk/>
            <pc:sldMk cId="3661311600" sldId="270"/>
            <ac:graphicFrameMk id="63" creationId="{16D91967-BC3B-4255-B190-CFC0EF786C41}"/>
          </ac:graphicFrameMkLst>
        </pc:graphicFrameChg>
        <pc:graphicFrameChg chg="add del mod">
          <ac:chgData name="Roussel, Gaetan" userId="269e9c6f-a5fe-49a6-9b6b-1c16ee3e16b1" providerId="ADAL" clId="{A43ED10B-C0D7-409E-AD3F-D6A5AE869F78}" dt="2022-06-28T13:26:48.201" v="9297"/>
          <ac:graphicFrameMkLst>
            <pc:docMk/>
            <pc:sldMk cId="3661311600" sldId="270"/>
            <ac:graphicFrameMk id="76" creationId="{9AC2B7EF-A716-449B-A7BB-A28139F8F324}"/>
          </ac:graphicFrameMkLst>
        </pc:graphicFrameChg>
        <pc:picChg chg="del mod topLvl">
          <ac:chgData name="Roussel, Gaetan" userId="269e9c6f-a5fe-49a6-9b6b-1c16ee3e16b1" providerId="ADAL" clId="{A43ED10B-C0D7-409E-AD3F-D6A5AE869F78}" dt="2022-06-30T08:16:06.046" v="11191" actId="478"/>
          <ac:picMkLst>
            <pc:docMk/>
            <pc:sldMk cId="3661311600" sldId="270"/>
            <ac:picMk id="6" creationId="{47F3CF94-A622-43E9-B30E-55A33040A8F7}"/>
          </ac:picMkLst>
        </pc:picChg>
        <pc:picChg chg="mod topLvl">
          <ac:chgData name="Roussel, Gaetan" userId="269e9c6f-a5fe-49a6-9b6b-1c16ee3e16b1" providerId="ADAL" clId="{A43ED10B-C0D7-409E-AD3F-D6A5AE869F78}" dt="2022-06-30T08:16:04.316" v="11190" actId="165"/>
          <ac:picMkLst>
            <pc:docMk/>
            <pc:sldMk cId="3661311600" sldId="270"/>
            <ac:picMk id="7" creationId="{981A2C2E-67FB-4095-850E-3C58285190B2}"/>
          </ac:picMkLst>
        </pc:picChg>
        <pc:picChg chg="del">
          <ac:chgData name="Roussel, Gaetan" userId="269e9c6f-a5fe-49a6-9b6b-1c16ee3e16b1" providerId="ADAL" clId="{A43ED10B-C0D7-409E-AD3F-D6A5AE869F78}" dt="2022-06-26T11:36:02.532" v="3698" actId="478"/>
          <ac:picMkLst>
            <pc:docMk/>
            <pc:sldMk cId="3661311600" sldId="270"/>
            <ac:picMk id="9" creationId="{2F07E54E-0FCC-4271-8E25-DD2DB5CC1D1D}"/>
          </ac:picMkLst>
        </pc:picChg>
        <pc:picChg chg="add mod">
          <ac:chgData name="Roussel, Gaetan" userId="269e9c6f-a5fe-49a6-9b6b-1c16ee3e16b1" providerId="ADAL" clId="{A43ED10B-C0D7-409E-AD3F-D6A5AE869F78}" dt="2022-06-30T08:16:06.422" v="11192"/>
          <ac:picMkLst>
            <pc:docMk/>
            <pc:sldMk cId="3661311600" sldId="270"/>
            <ac:picMk id="23" creationId="{8A662360-ADF7-4C3C-8F56-4DB809C09525}"/>
          </ac:picMkLst>
        </pc:picChg>
        <pc:picChg chg="add mod">
          <ac:chgData name="Roussel, Gaetan" userId="269e9c6f-a5fe-49a6-9b6b-1c16ee3e16b1" providerId="ADAL" clId="{A43ED10B-C0D7-409E-AD3F-D6A5AE869F78}" dt="2022-06-29T09:00:49.119" v="11043" actId="12788"/>
          <ac:picMkLst>
            <pc:docMk/>
            <pc:sldMk cId="3661311600" sldId="270"/>
            <ac:picMk id="5122" creationId="{0DBDCA5F-E7A9-4052-B889-4C40F7B2239B}"/>
          </ac:picMkLst>
        </pc:picChg>
        <pc:picChg chg="add mod">
          <ac:chgData name="Roussel, Gaetan" userId="269e9c6f-a5fe-49a6-9b6b-1c16ee3e16b1" providerId="ADAL" clId="{A43ED10B-C0D7-409E-AD3F-D6A5AE869F78}" dt="2022-06-28T19:05:03.991" v="10503" actId="12788"/>
          <ac:picMkLst>
            <pc:docMk/>
            <pc:sldMk cId="3661311600" sldId="270"/>
            <ac:picMk id="5124" creationId="{0CFFA81C-3A8D-49E3-AC72-2BFB0D68C0A6}"/>
          </ac:picMkLst>
        </pc:picChg>
        <pc:picChg chg="add mod">
          <ac:chgData name="Roussel, Gaetan" userId="269e9c6f-a5fe-49a6-9b6b-1c16ee3e16b1" providerId="ADAL" clId="{A43ED10B-C0D7-409E-AD3F-D6A5AE869F78}" dt="2022-06-28T19:05:26.205" v="10527" actId="12788"/>
          <ac:picMkLst>
            <pc:docMk/>
            <pc:sldMk cId="3661311600" sldId="270"/>
            <ac:picMk id="5126" creationId="{6D0E2372-E8FB-49A5-B7AB-97F55022427B}"/>
          </ac:picMkLst>
        </pc:picChg>
        <pc:picChg chg="add mod">
          <ac:chgData name="Roussel, Gaetan" userId="269e9c6f-a5fe-49a6-9b6b-1c16ee3e16b1" providerId="ADAL" clId="{A43ED10B-C0D7-409E-AD3F-D6A5AE869F78}" dt="2022-06-29T09:00:49.119" v="11043" actId="12788"/>
          <ac:picMkLst>
            <pc:docMk/>
            <pc:sldMk cId="3661311600" sldId="270"/>
            <ac:picMk id="5128" creationId="{BE9C2BAF-AAA1-4EEC-AB1B-185714F73C11}"/>
          </ac:picMkLst>
        </pc:picChg>
        <pc:cxnChg chg="add del mod">
          <ac:chgData name="Roussel, Gaetan" userId="269e9c6f-a5fe-49a6-9b6b-1c16ee3e16b1" providerId="ADAL" clId="{A43ED10B-C0D7-409E-AD3F-D6A5AE869F78}" dt="2022-06-26T11:40:32.300" v="3702" actId="478"/>
          <ac:cxnSpMkLst>
            <pc:docMk/>
            <pc:sldMk cId="3661311600" sldId="270"/>
            <ac:cxnSpMk id="19" creationId="{DA076D0C-D941-4BE9-B991-D091981D1354}"/>
          </ac:cxnSpMkLst>
        </pc:cxnChg>
        <pc:cxnChg chg="add del mod">
          <ac:chgData name="Roussel, Gaetan" userId="269e9c6f-a5fe-49a6-9b6b-1c16ee3e16b1" providerId="ADAL" clId="{A43ED10B-C0D7-409E-AD3F-D6A5AE869F78}" dt="2022-06-28T18:37:30.137" v="10016" actId="478"/>
          <ac:cxnSpMkLst>
            <pc:docMk/>
            <pc:sldMk cId="3661311600" sldId="270"/>
            <ac:cxnSpMk id="29" creationId="{68BEBCDB-FD90-4A91-B9E2-C6A5658CA348}"/>
          </ac:cxnSpMkLst>
        </pc:cxnChg>
        <pc:cxnChg chg="mod">
          <ac:chgData name="Roussel, Gaetan" userId="269e9c6f-a5fe-49a6-9b6b-1c16ee3e16b1" providerId="ADAL" clId="{A43ED10B-C0D7-409E-AD3F-D6A5AE869F78}" dt="2022-06-26T11:39:26.847" v="3699"/>
          <ac:cxnSpMkLst>
            <pc:docMk/>
            <pc:sldMk cId="3661311600" sldId="270"/>
            <ac:cxnSpMk id="37" creationId="{B782E4EB-5E6D-4A73-BDBA-4F1B39A06E68}"/>
          </ac:cxnSpMkLst>
        </pc:cxnChg>
        <pc:cxnChg chg="mod">
          <ac:chgData name="Roussel, Gaetan" userId="269e9c6f-a5fe-49a6-9b6b-1c16ee3e16b1" providerId="ADAL" clId="{A43ED10B-C0D7-409E-AD3F-D6A5AE869F78}" dt="2022-06-26T11:39:26.847" v="3699"/>
          <ac:cxnSpMkLst>
            <pc:docMk/>
            <pc:sldMk cId="3661311600" sldId="270"/>
            <ac:cxnSpMk id="38" creationId="{3186218F-7814-432D-929E-F128146F69C5}"/>
          </ac:cxnSpMkLst>
        </pc:cxnChg>
        <pc:cxnChg chg="mod">
          <ac:chgData name="Roussel, Gaetan" userId="269e9c6f-a5fe-49a6-9b6b-1c16ee3e16b1" providerId="ADAL" clId="{A43ED10B-C0D7-409E-AD3F-D6A5AE869F78}" dt="2022-06-26T11:39:26.847" v="3699"/>
          <ac:cxnSpMkLst>
            <pc:docMk/>
            <pc:sldMk cId="3661311600" sldId="270"/>
            <ac:cxnSpMk id="39" creationId="{A57C633C-EB28-4B2D-A8BF-7E10A12B91A4}"/>
          </ac:cxnSpMkLst>
        </pc:cxnChg>
        <pc:cxnChg chg="add del mod">
          <ac:chgData name="Roussel, Gaetan" userId="269e9c6f-a5fe-49a6-9b6b-1c16ee3e16b1" providerId="ADAL" clId="{A43ED10B-C0D7-409E-AD3F-D6A5AE869F78}" dt="2022-06-26T11:40:32.300" v="3702" actId="478"/>
          <ac:cxnSpMkLst>
            <pc:docMk/>
            <pc:sldMk cId="3661311600" sldId="270"/>
            <ac:cxnSpMk id="51" creationId="{F4558477-6ACA-418B-8144-1E1E575EED50}"/>
          </ac:cxnSpMkLst>
        </pc:cxnChg>
        <pc:cxnChg chg="add del mod">
          <ac:chgData name="Roussel, Gaetan" userId="269e9c6f-a5fe-49a6-9b6b-1c16ee3e16b1" providerId="ADAL" clId="{A43ED10B-C0D7-409E-AD3F-D6A5AE869F78}" dt="2022-06-28T18:37:34.357" v="10017" actId="478"/>
          <ac:cxnSpMkLst>
            <pc:docMk/>
            <pc:sldMk cId="3661311600" sldId="270"/>
            <ac:cxnSpMk id="73" creationId="{69991995-CCFB-44A8-9C29-C290EEE48498}"/>
          </ac:cxnSpMkLst>
        </pc:cxnChg>
      </pc:sldChg>
      <pc:sldChg chg="new del">
        <pc:chgData name="Roussel, Gaetan" userId="269e9c6f-a5fe-49a6-9b6b-1c16ee3e16b1" providerId="ADAL" clId="{A43ED10B-C0D7-409E-AD3F-D6A5AE869F78}" dt="2022-06-26T12:04:19.161" v="4231" actId="47"/>
        <pc:sldMkLst>
          <pc:docMk/>
          <pc:sldMk cId="2741363280" sldId="271"/>
        </pc:sldMkLst>
      </pc:sldChg>
      <pc:sldChg chg="addSp delSp modSp add mod ord">
        <pc:chgData name="Roussel, Gaetan" userId="269e9c6f-a5fe-49a6-9b6b-1c16ee3e16b1" providerId="ADAL" clId="{A43ED10B-C0D7-409E-AD3F-D6A5AE869F78}" dt="2022-06-27T13:15:57.735" v="7413" actId="20578"/>
        <pc:sldMkLst>
          <pc:docMk/>
          <pc:sldMk cId="4198388497" sldId="271"/>
        </pc:sldMkLst>
        <pc:spChg chg="mod">
          <ac:chgData name="Roussel, Gaetan" userId="269e9c6f-a5fe-49a6-9b6b-1c16ee3e16b1" providerId="ADAL" clId="{A43ED10B-C0D7-409E-AD3F-D6A5AE869F78}" dt="2022-06-26T17:49:37.343" v="5686" actId="20577"/>
          <ac:spMkLst>
            <pc:docMk/>
            <pc:sldMk cId="4198388497" sldId="271"/>
            <ac:spMk id="2" creationId="{CB5A1A39-FEA5-45F0-8A95-1A2DE8823E7B}"/>
          </ac:spMkLst>
        </pc:spChg>
        <pc:spChg chg="add mod">
          <ac:chgData name="Roussel, Gaetan" userId="269e9c6f-a5fe-49a6-9b6b-1c16ee3e16b1" providerId="ADAL" clId="{A43ED10B-C0D7-409E-AD3F-D6A5AE869F78}" dt="2022-06-26T16:45:16.577" v="5656" actId="14100"/>
          <ac:spMkLst>
            <pc:docMk/>
            <pc:sldMk cId="4198388497" sldId="271"/>
            <ac:spMk id="10" creationId="{6DB8A22F-48CB-415F-837B-752ACC8B9373}"/>
          </ac:spMkLst>
        </pc:spChg>
        <pc:spChg chg="del">
          <ac:chgData name="Roussel, Gaetan" userId="269e9c6f-a5fe-49a6-9b6b-1c16ee3e16b1" providerId="ADAL" clId="{A43ED10B-C0D7-409E-AD3F-D6A5AE869F78}" dt="2022-06-26T12:04:30.402" v="4233" actId="478"/>
          <ac:spMkLst>
            <pc:docMk/>
            <pc:sldMk cId="4198388497" sldId="271"/>
            <ac:spMk id="23" creationId="{343FB907-D56F-47EC-8683-C64DE7ED2DC8}"/>
          </ac:spMkLst>
        </pc:spChg>
        <pc:spChg chg="del">
          <ac:chgData name="Roussel, Gaetan" userId="269e9c6f-a5fe-49a6-9b6b-1c16ee3e16b1" providerId="ADAL" clId="{A43ED10B-C0D7-409E-AD3F-D6A5AE869F78}" dt="2022-06-26T12:04:30.402" v="4233" actId="478"/>
          <ac:spMkLst>
            <pc:docMk/>
            <pc:sldMk cId="4198388497" sldId="271"/>
            <ac:spMk id="24" creationId="{E2B320C3-A844-483E-8398-C577AEDB2F8E}"/>
          </ac:spMkLst>
        </pc:spChg>
        <pc:spChg chg="del">
          <ac:chgData name="Roussel, Gaetan" userId="269e9c6f-a5fe-49a6-9b6b-1c16ee3e16b1" providerId="ADAL" clId="{A43ED10B-C0D7-409E-AD3F-D6A5AE869F78}" dt="2022-06-26T12:04:30.402" v="4233" actId="478"/>
          <ac:spMkLst>
            <pc:docMk/>
            <pc:sldMk cId="4198388497" sldId="271"/>
            <ac:spMk id="25" creationId="{1A2401D8-DFAC-496B-B95F-B00851A41A02}"/>
          </ac:spMkLst>
        </pc:spChg>
        <pc:spChg chg="del">
          <ac:chgData name="Roussel, Gaetan" userId="269e9c6f-a5fe-49a6-9b6b-1c16ee3e16b1" providerId="ADAL" clId="{A43ED10B-C0D7-409E-AD3F-D6A5AE869F78}" dt="2022-06-26T12:04:30.402" v="4233" actId="478"/>
          <ac:spMkLst>
            <pc:docMk/>
            <pc:sldMk cId="4198388497" sldId="271"/>
            <ac:spMk id="26" creationId="{8BB967F3-C8BC-49BD-824D-DB160BD59585}"/>
          </ac:spMkLst>
        </pc:spChg>
        <pc:spChg chg="del">
          <ac:chgData name="Roussel, Gaetan" userId="269e9c6f-a5fe-49a6-9b6b-1c16ee3e16b1" providerId="ADAL" clId="{A43ED10B-C0D7-409E-AD3F-D6A5AE869F78}" dt="2022-06-26T12:04:30.402" v="4233" actId="478"/>
          <ac:spMkLst>
            <pc:docMk/>
            <pc:sldMk cId="4198388497" sldId="271"/>
            <ac:spMk id="27" creationId="{2CF96B4F-9D3B-4333-A24E-87322D44D018}"/>
          </ac:spMkLst>
        </pc:spChg>
        <pc:spChg chg="del">
          <ac:chgData name="Roussel, Gaetan" userId="269e9c6f-a5fe-49a6-9b6b-1c16ee3e16b1" providerId="ADAL" clId="{A43ED10B-C0D7-409E-AD3F-D6A5AE869F78}" dt="2022-06-26T12:04:30.402" v="4233" actId="478"/>
          <ac:spMkLst>
            <pc:docMk/>
            <pc:sldMk cId="4198388497" sldId="271"/>
            <ac:spMk id="28" creationId="{E99EDF87-C26E-456F-8CA0-799E92485C0E}"/>
          </ac:spMkLst>
        </pc:spChg>
        <pc:spChg chg="del">
          <ac:chgData name="Roussel, Gaetan" userId="269e9c6f-a5fe-49a6-9b6b-1c16ee3e16b1" providerId="ADAL" clId="{A43ED10B-C0D7-409E-AD3F-D6A5AE869F78}" dt="2022-06-26T12:04:30.402" v="4233" actId="478"/>
          <ac:spMkLst>
            <pc:docMk/>
            <pc:sldMk cId="4198388497" sldId="271"/>
            <ac:spMk id="40" creationId="{844B5908-9AC0-4195-9F00-5EE952F3306A}"/>
          </ac:spMkLst>
        </pc:spChg>
        <pc:spChg chg="del">
          <ac:chgData name="Roussel, Gaetan" userId="269e9c6f-a5fe-49a6-9b6b-1c16ee3e16b1" providerId="ADAL" clId="{A43ED10B-C0D7-409E-AD3F-D6A5AE869F78}" dt="2022-06-26T12:04:30.402" v="4233" actId="478"/>
          <ac:spMkLst>
            <pc:docMk/>
            <pc:sldMk cId="4198388497" sldId="271"/>
            <ac:spMk id="41" creationId="{E4B29BCE-70B4-40BB-A379-CF705E527BBE}"/>
          </ac:spMkLst>
        </pc:spChg>
        <pc:spChg chg="add mod">
          <ac:chgData name="Roussel, Gaetan" userId="269e9c6f-a5fe-49a6-9b6b-1c16ee3e16b1" providerId="ADAL" clId="{A43ED10B-C0D7-409E-AD3F-D6A5AE869F78}" dt="2022-06-26T16:45:21.620" v="5658" actId="1076"/>
          <ac:spMkLst>
            <pc:docMk/>
            <pc:sldMk cId="4198388497" sldId="271"/>
            <ac:spMk id="53" creationId="{89A4F149-6735-4C29-9C51-404FAFFDB60C}"/>
          </ac:spMkLst>
        </pc:spChg>
        <pc:spChg chg="add mod">
          <ac:chgData name="Roussel, Gaetan" userId="269e9c6f-a5fe-49a6-9b6b-1c16ee3e16b1" providerId="ADAL" clId="{A43ED10B-C0D7-409E-AD3F-D6A5AE869F78}" dt="2022-06-26T16:45:53.903" v="5664" actId="1076"/>
          <ac:spMkLst>
            <pc:docMk/>
            <pc:sldMk cId="4198388497" sldId="271"/>
            <ac:spMk id="54" creationId="{9860DAD6-2C7C-4876-9184-7230B73F05DA}"/>
          </ac:spMkLst>
        </pc:spChg>
        <pc:spChg chg="add mod">
          <ac:chgData name="Roussel, Gaetan" userId="269e9c6f-a5fe-49a6-9b6b-1c16ee3e16b1" providerId="ADAL" clId="{A43ED10B-C0D7-409E-AD3F-D6A5AE869F78}" dt="2022-06-26T16:46:06.014" v="5666" actId="1076"/>
          <ac:spMkLst>
            <pc:docMk/>
            <pc:sldMk cId="4198388497" sldId="271"/>
            <ac:spMk id="55" creationId="{E5C56113-B969-497F-AD0A-D911F5B396FB}"/>
          </ac:spMkLst>
        </pc:spChg>
        <pc:spChg chg="add mod">
          <ac:chgData name="Roussel, Gaetan" userId="269e9c6f-a5fe-49a6-9b6b-1c16ee3e16b1" providerId="ADAL" clId="{A43ED10B-C0D7-409E-AD3F-D6A5AE869F78}" dt="2022-06-27T13:07:54.420" v="7184" actId="20577"/>
          <ac:spMkLst>
            <pc:docMk/>
            <pc:sldMk cId="4198388497" sldId="271"/>
            <ac:spMk id="57" creationId="{FF3EE46B-CED6-4402-AB03-4B16B878E83C}"/>
          </ac:spMkLst>
        </pc:spChg>
        <pc:spChg chg="del">
          <ac:chgData name="Roussel, Gaetan" userId="269e9c6f-a5fe-49a6-9b6b-1c16ee3e16b1" providerId="ADAL" clId="{A43ED10B-C0D7-409E-AD3F-D6A5AE869F78}" dt="2022-06-26T12:04:30.402" v="4233" actId="478"/>
          <ac:spMkLst>
            <pc:docMk/>
            <pc:sldMk cId="4198388497" sldId="271"/>
            <ac:spMk id="64" creationId="{D16364D7-C842-42B6-835A-78BA433A99DE}"/>
          </ac:spMkLst>
        </pc:spChg>
        <pc:spChg chg="del">
          <ac:chgData name="Roussel, Gaetan" userId="269e9c6f-a5fe-49a6-9b6b-1c16ee3e16b1" providerId="ADAL" clId="{A43ED10B-C0D7-409E-AD3F-D6A5AE869F78}" dt="2022-06-26T13:09:23.183" v="5193" actId="478"/>
          <ac:spMkLst>
            <pc:docMk/>
            <pc:sldMk cId="4198388497" sldId="271"/>
            <ac:spMk id="65" creationId="{FB383B82-9C04-4E6C-9E6A-638CBAD1B5AA}"/>
          </ac:spMkLst>
        </pc:spChg>
        <pc:spChg chg="del topLvl">
          <ac:chgData name="Roussel, Gaetan" userId="269e9c6f-a5fe-49a6-9b6b-1c16ee3e16b1" providerId="ADAL" clId="{A43ED10B-C0D7-409E-AD3F-D6A5AE869F78}" dt="2022-06-26T13:09:32.440" v="5195" actId="478"/>
          <ac:spMkLst>
            <pc:docMk/>
            <pc:sldMk cId="4198388497" sldId="271"/>
            <ac:spMk id="67" creationId="{B7172940-1407-4762-9759-8F63E127970E}"/>
          </ac:spMkLst>
        </pc:spChg>
        <pc:spChg chg="del topLvl">
          <ac:chgData name="Roussel, Gaetan" userId="269e9c6f-a5fe-49a6-9b6b-1c16ee3e16b1" providerId="ADAL" clId="{A43ED10B-C0D7-409E-AD3F-D6A5AE869F78}" dt="2022-06-26T13:09:30.946" v="5194" actId="478"/>
          <ac:spMkLst>
            <pc:docMk/>
            <pc:sldMk cId="4198388497" sldId="271"/>
            <ac:spMk id="68" creationId="{C2630A3B-0F59-4F7E-9EC7-CA3B42909C63}"/>
          </ac:spMkLst>
        </pc:spChg>
        <pc:grpChg chg="del">
          <ac:chgData name="Roussel, Gaetan" userId="269e9c6f-a5fe-49a6-9b6b-1c16ee3e16b1" providerId="ADAL" clId="{A43ED10B-C0D7-409E-AD3F-D6A5AE869F78}" dt="2022-06-26T12:04:30.402" v="4233" actId="478"/>
          <ac:grpSpMkLst>
            <pc:docMk/>
            <pc:sldMk cId="4198388497" sldId="271"/>
            <ac:grpSpMk id="36" creationId="{1884CC69-F329-431A-9DE0-46175B03F030}"/>
          </ac:grpSpMkLst>
        </pc:grpChg>
        <pc:grpChg chg="del">
          <ac:chgData name="Roussel, Gaetan" userId="269e9c6f-a5fe-49a6-9b6b-1c16ee3e16b1" providerId="ADAL" clId="{A43ED10B-C0D7-409E-AD3F-D6A5AE869F78}" dt="2022-06-26T12:04:30.402" v="4233" actId="478"/>
          <ac:grpSpMkLst>
            <pc:docMk/>
            <pc:sldMk cId="4198388497" sldId="271"/>
            <ac:grpSpMk id="42" creationId="{4DB7841D-3F82-4A2F-AC23-8D267D13B361}"/>
          </ac:grpSpMkLst>
        </pc:grpChg>
        <pc:grpChg chg="del">
          <ac:chgData name="Roussel, Gaetan" userId="269e9c6f-a5fe-49a6-9b6b-1c16ee3e16b1" providerId="ADAL" clId="{A43ED10B-C0D7-409E-AD3F-D6A5AE869F78}" dt="2022-06-26T12:04:30.402" v="4233" actId="478"/>
          <ac:grpSpMkLst>
            <pc:docMk/>
            <pc:sldMk cId="4198388497" sldId="271"/>
            <ac:grpSpMk id="45" creationId="{4BBFBE85-90C9-4A2A-8815-60DA8580E93D}"/>
          </ac:grpSpMkLst>
        </pc:grpChg>
        <pc:grpChg chg="del">
          <ac:chgData name="Roussel, Gaetan" userId="269e9c6f-a5fe-49a6-9b6b-1c16ee3e16b1" providerId="ADAL" clId="{A43ED10B-C0D7-409E-AD3F-D6A5AE869F78}" dt="2022-06-26T12:04:30.402" v="4233" actId="478"/>
          <ac:grpSpMkLst>
            <pc:docMk/>
            <pc:sldMk cId="4198388497" sldId="271"/>
            <ac:grpSpMk id="48" creationId="{843A4B10-1823-43AE-AD07-CED05BF1E17D}"/>
          </ac:grpSpMkLst>
        </pc:grpChg>
        <pc:grpChg chg="del">
          <ac:chgData name="Roussel, Gaetan" userId="269e9c6f-a5fe-49a6-9b6b-1c16ee3e16b1" providerId="ADAL" clId="{A43ED10B-C0D7-409E-AD3F-D6A5AE869F78}" dt="2022-06-26T13:09:30.946" v="5194" actId="478"/>
          <ac:grpSpMkLst>
            <pc:docMk/>
            <pc:sldMk cId="4198388497" sldId="271"/>
            <ac:grpSpMk id="66" creationId="{C230EDBF-5666-45DA-8C8A-BBFF52AAFFEE}"/>
          </ac:grpSpMkLst>
        </pc:grpChg>
        <pc:graphicFrameChg chg="del">
          <ac:chgData name="Roussel, Gaetan" userId="269e9c6f-a5fe-49a6-9b6b-1c16ee3e16b1" providerId="ADAL" clId="{A43ED10B-C0D7-409E-AD3F-D6A5AE869F78}" dt="2022-06-26T12:04:30.402" v="4233" actId="478"/>
          <ac:graphicFrameMkLst>
            <pc:docMk/>
            <pc:sldMk cId="4198388497" sldId="271"/>
            <ac:graphicFrameMk id="14" creationId="{2CDDFED9-2BC8-443E-8DB6-AF8CB15FAEDA}"/>
          </ac:graphicFrameMkLst>
        </pc:graphicFrameChg>
        <pc:graphicFrameChg chg="del">
          <ac:chgData name="Roussel, Gaetan" userId="269e9c6f-a5fe-49a6-9b6b-1c16ee3e16b1" providerId="ADAL" clId="{A43ED10B-C0D7-409E-AD3F-D6A5AE869F78}" dt="2022-06-26T12:04:30.402" v="4233" actId="478"/>
          <ac:graphicFrameMkLst>
            <pc:docMk/>
            <pc:sldMk cId="4198388497" sldId="271"/>
            <ac:graphicFrameMk id="16" creationId="{83C8BBF0-AE01-4935-B987-F7ACAAB751B0}"/>
          </ac:graphicFrameMkLst>
        </pc:graphicFrameChg>
        <pc:graphicFrameChg chg="del">
          <ac:chgData name="Roussel, Gaetan" userId="269e9c6f-a5fe-49a6-9b6b-1c16ee3e16b1" providerId="ADAL" clId="{A43ED10B-C0D7-409E-AD3F-D6A5AE869F78}" dt="2022-06-26T12:04:30.402" v="4233" actId="478"/>
          <ac:graphicFrameMkLst>
            <pc:docMk/>
            <pc:sldMk cId="4198388497" sldId="271"/>
            <ac:graphicFrameMk id="17" creationId="{5C02A24F-F9B2-4F84-802B-1C631516963C}"/>
          </ac:graphicFrameMkLst>
        </pc:graphicFrameChg>
        <pc:graphicFrameChg chg="del">
          <ac:chgData name="Roussel, Gaetan" userId="269e9c6f-a5fe-49a6-9b6b-1c16ee3e16b1" providerId="ADAL" clId="{A43ED10B-C0D7-409E-AD3F-D6A5AE869F78}" dt="2022-06-26T12:04:30.402" v="4233" actId="478"/>
          <ac:graphicFrameMkLst>
            <pc:docMk/>
            <pc:sldMk cId="4198388497" sldId="271"/>
            <ac:graphicFrameMk id="18" creationId="{DCFE2928-F431-4FE2-A4AB-CC18DA1E7CD3}"/>
          </ac:graphicFrameMkLst>
        </pc:graphicFrameChg>
        <pc:graphicFrameChg chg="del">
          <ac:chgData name="Roussel, Gaetan" userId="269e9c6f-a5fe-49a6-9b6b-1c16ee3e16b1" providerId="ADAL" clId="{A43ED10B-C0D7-409E-AD3F-D6A5AE869F78}" dt="2022-06-26T12:04:30.402" v="4233" actId="478"/>
          <ac:graphicFrameMkLst>
            <pc:docMk/>
            <pc:sldMk cId="4198388497" sldId="271"/>
            <ac:graphicFrameMk id="21" creationId="{7D470078-D797-449C-AAB8-A2023DC7B320}"/>
          </ac:graphicFrameMkLst>
        </pc:graphicFrameChg>
        <pc:graphicFrameChg chg="del">
          <ac:chgData name="Roussel, Gaetan" userId="269e9c6f-a5fe-49a6-9b6b-1c16ee3e16b1" providerId="ADAL" clId="{A43ED10B-C0D7-409E-AD3F-D6A5AE869F78}" dt="2022-06-26T12:04:30.402" v="4233" actId="478"/>
          <ac:graphicFrameMkLst>
            <pc:docMk/>
            <pc:sldMk cId="4198388497" sldId="271"/>
            <ac:graphicFrameMk id="22" creationId="{1D94B3C0-C327-4C67-A604-B4684CEAEA82}"/>
          </ac:graphicFrameMkLst>
        </pc:graphicFrameChg>
        <pc:graphicFrameChg chg="add del mod modGraphic">
          <ac:chgData name="Roussel, Gaetan" userId="269e9c6f-a5fe-49a6-9b6b-1c16ee3e16b1" providerId="ADAL" clId="{A43ED10B-C0D7-409E-AD3F-D6A5AE869F78}" dt="2022-06-26T16:42:17.762" v="5642" actId="478"/>
          <ac:graphicFrameMkLst>
            <pc:docMk/>
            <pc:sldMk cId="4198388497" sldId="271"/>
            <ac:graphicFrameMk id="52" creationId="{8B47453E-0E64-47CE-AECB-291386823303}"/>
          </ac:graphicFrameMkLst>
        </pc:graphicFrameChg>
        <pc:graphicFrameChg chg="del">
          <ac:chgData name="Roussel, Gaetan" userId="269e9c6f-a5fe-49a6-9b6b-1c16ee3e16b1" providerId="ADAL" clId="{A43ED10B-C0D7-409E-AD3F-D6A5AE869F78}" dt="2022-06-26T12:04:34.781" v="4234" actId="478"/>
          <ac:graphicFrameMkLst>
            <pc:docMk/>
            <pc:sldMk cId="4198388497" sldId="271"/>
            <ac:graphicFrameMk id="63" creationId="{16D91967-BC3B-4255-B190-CFC0EF786C41}"/>
          </ac:graphicFrameMkLst>
        </pc:graphicFrameChg>
        <pc:picChg chg="add mod">
          <ac:chgData name="Roussel, Gaetan" userId="269e9c6f-a5fe-49a6-9b6b-1c16ee3e16b1" providerId="ADAL" clId="{A43ED10B-C0D7-409E-AD3F-D6A5AE869F78}" dt="2022-06-26T16:45:49.022" v="5663" actId="1076"/>
          <ac:picMkLst>
            <pc:docMk/>
            <pc:sldMk cId="4198388497" sldId="271"/>
            <ac:picMk id="9" creationId="{4D004221-56B7-42FC-BA2A-ECB11CCB022A}"/>
          </ac:picMkLst>
        </pc:picChg>
        <pc:picChg chg="add mod">
          <ac:chgData name="Roussel, Gaetan" userId="269e9c6f-a5fe-49a6-9b6b-1c16ee3e16b1" providerId="ADAL" clId="{A43ED10B-C0D7-409E-AD3F-D6A5AE869F78}" dt="2022-06-26T16:45:22.907" v="5659" actId="1076"/>
          <ac:picMkLst>
            <pc:docMk/>
            <pc:sldMk cId="4198388497" sldId="271"/>
            <ac:picMk id="51" creationId="{BB2A7E76-885B-4AF6-9191-659B7798DF53}"/>
          </ac:picMkLst>
        </pc:picChg>
        <pc:picChg chg="add mod">
          <ac:chgData name="Roussel, Gaetan" userId="269e9c6f-a5fe-49a6-9b6b-1c16ee3e16b1" providerId="ADAL" clId="{A43ED10B-C0D7-409E-AD3F-D6A5AE869F78}" dt="2022-06-27T13:07:41.784" v="7179"/>
          <ac:picMkLst>
            <pc:docMk/>
            <pc:sldMk cId="4198388497" sldId="271"/>
            <ac:picMk id="56" creationId="{7E44845A-F435-473A-A3BE-B2F32B17BFF7}"/>
          </ac:picMkLst>
        </pc:picChg>
        <pc:cxnChg chg="del">
          <ac:chgData name="Roussel, Gaetan" userId="269e9c6f-a5fe-49a6-9b6b-1c16ee3e16b1" providerId="ADAL" clId="{A43ED10B-C0D7-409E-AD3F-D6A5AE869F78}" dt="2022-06-26T12:04:30.402" v="4233" actId="478"/>
          <ac:cxnSpMkLst>
            <pc:docMk/>
            <pc:sldMk cId="4198388497" sldId="271"/>
            <ac:cxnSpMk id="29" creationId="{68BEBCDB-FD90-4A91-B9E2-C6A5658CA348}"/>
          </ac:cxnSpMkLst>
        </pc:cxnChg>
      </pc:sldChg>
      <pc:sldChg chg="addSp delSp modSp add del mod modShow">
        <pc:chgData name="Roussel, Gaetan" userId="269e9c6f-a5fe-49a6-9b6b-1c16ee3e16b1" providerId="ADAL" clId="{A43ED10B-C0D7-409E-AD3F-D6A5AE869F78}" dt="2022-06-28T18:46:13.458" v="10022" actId="2696"/>
        <pc:sldMkLst>
          <pc:docMk/>
          <pc:sldMk cId="1522908915" sldId="272"/>
        </pc:sldMkLst>
        <pc:spChg chg="mod">
          <ac:chgData name="Roussel, Gaetan" userId="269e9c6f-a5fe-49a6-9b6b-1c16ee3e16b1" providerId="ADAL" clId="{A43ED10B-C0D7-409E-AD3F-D6A5AE869F78}" dt="2022-06-26T12:33:59.047" v="4508" actId="2711"/>
          <ac:spMkLst>
            <pc:docMk/>
            <pc:sldMk cId="1522908915" sldId="272"/>
            <ac:spMk id="2" creationId="{CB5A1A39-FEA5-45F0-8A95-1A2DE8823E7B}"/>
          </ac:spMkLst>
        </pc:spChg>
        <pc:spChg chg="del mod">
          <ac:chgData name="Roussel, Gaetan" userId="269e9c6f-a5fe-49a6-9b6b-1c16ee3e16b1" providerId="ADAL" clId="{A43ED10B-C0D7-409E-AD3F-D6A5AE869F78}" dt="2022-06-27T13:11:59.177" v="7337" actId="478"/>
          <ac:spMkLst>
            <pc:docMk/>
            <pc:sldMk cId="1522908915" sldId="272"/>
            <ac:spMk id="8" creationId="{4818DEB8-EE23-4ED9-803D-DCCA250B0B49}"/>
          </ac:spMkLst>
        </pc:spChg>
        <pc:spChg chg="mod">
          <ac:chgData name="Roussel, Gaetan" userId="269e9c6f-a5fe-49a6-9b6b-1c16ee3e16b1" providerId="ADAL" clId="{A43ED10B-C0D7-409E-AD3F-D6A5AE869F78}" dt="2022-06-27T13:45:06.536" v="7606" actId="20577"/>
          <ac:spMkLst>
            <pc:docMk/>
            <pc:sldMk cId="1522908915" sldId="272"/>
            <ac:spMk id="10" creationId="{0A7632A1-F470-44E8-8B9D-388969850213}"/>
          </ac:spMkLst>
        </pc:spChg>
        <pc:spChg chg="del">
          <ac:chgData name="Roussel, Gaetan" userId="269e9c6f-a5fe-49a6-9b6b-1c16ee3e16b1" providerId="ADAL" clId="{A43ED10B-C0D7-409E-AD3F-D6A5AE869F78}" dt="2022-06-26T12:25:30.072" v="4356" actId="478"/>
          <ac:spMkLst>
            <pc:docMk/>
            <pc:sldMk cId="1522908915" sldId="272"/>
            <ac:spMk id="14" creationId="{1735F0CA-5549-431E-B2EA-F247016C8702}"/>
          </ac:spMkLst>
        </pc:spChg>
        <pc:spChg chg="del">
          <ac:chgData name="Roussel, Gaetan" userId="269e9c6f-a5fe-49a6-9b6b-1c16ee3e16b1" providerId="ADAL" clId="{A43ED10B-C0D7-409E-AD3F-D6A5AE869F78}" dt="2022-06-26T12:25:30.072" v="4356" actId="478"/>
          <ac:spMkLst>
            <pc:docMk/>
            <pc:sldMk cId="1522908915" sldId="272"/>
            <ac:spMk id="15" creationId="{30BCB580-89A8-45E3-B5C9-FE8F5FBB51BD}"/>
          </ac:spMkLst>
        </pc:spChg>
        <pc:spChg chg="del">
          <ac:chgData name="Roussel, Gaetan" userId="269e9c6f-a5fe-49a6-9b6b-1c16ee3e16b1" providerId="ADAL" clId="{A43ED10B-C0D7-409E-AD3F-D6A5AE869F78}" dt="2022-06-26T12:25:30.072" v="4356" actId="478"/>
          <ac:spMkLst>
            <pc:docMk/>
            <pc:sldMk cId="1522908915" sldId="272"/>
            <ac:spMk id="16" creationId="{30A229F3-6B5E-43AC-9FEB-B37D940439A5}"/>
          </ac:spMkLst>
        </pc:spChg>
        <pc:spChg chg="del">
          <ac:chgData name="Roussel, Gaetan" userId="269e9c6f-a5fe-49a6-9b6b-1c16ee3e16b1" providerId="ADAL" clId="{A43ED10B-C0D7-409E-AD3F-D6A5AE869F78}" dt="2022-06-26T12:25:30.072" v="4356" actId="478"/>
          <ac:spMkLst>
            <pc:docMk/>
            <pc:sldMk cId="1522908915" sldId="272"/>
            <ac:spMk id="17" creationId="{345ABC89-646F-4DFE-9004-10B556B7E221}"/>
          </ac:spMkLst>
        </pc:spChg>
        <pc:spChg chg="del">
          <ac:chgData name="Roussel, Gaetan" userId="269e9c6f-a5fe-49a6-9b6b-1c16ee3e16b1" providerId="ADAL" clId="{A43ED10B-C0D7-409E-AD3F-D6A5AE869F78}" dt="2022-06-26T12:25:30.072" v="4356" actId="478"/>
          <ac:spMkLst>
            <pc:docMk/>
            <pc:sldMk cId="1522908915" sldId="272"/>
            <ac:spMk id="18" creationId="{89DAF6F6-EC14-4D3A-B84A-78E88CD22FA3}"/>
          </ac:spMkLst>
        </pc:spChg>
        <pc:spChg chg="del">
          <ac:chgData name="Roussel, Gaetan" userId="269e9c6f-a5fe-49a6-9b6b-1c16ee3e16b1" providerId="ADAL" clId="{A43ED10B-C0D7-409E-AD3F-D6A5AE869F78}" dt="2022-06-26T12:25:30.072" v="4356" actId="478"/>
          <ac:spMkLst>
            <pc:docMk/>
            <pc:sldMk cId="1522908915" sldId="272"/>
            <ac:spMk id="19" creationId="{07B36BE2-2C4D-421B-9259-474E2B9D6251}"/>
          </ac:spMkLst>
        </pc:spChg>
        <pc:spChg chg="del">
          <ac:chgData name="Roussel, Gaetan" userId="269e9c6f-a5fe-49a6-9b6b-1c16ee3e16b1" providerId="ADAL" clId="{A43ED10B-C0D7-409E-AD3F-D6A5AE869F78}" dt="2022-06-26T12:25:30.072" v="4356" actId="478"/>
          <ac:spMkLst>
            <pc:docMk/>
            <pc:sldMk cId="1522908915" sldId="272"/>
            <ac:spMk id="20" creationId="{79386ABD-539B-4C49-B4BD-A345A684ECD6}"/>
          </ac:spMkLst>
        </pc:spChg>
        <pc:spChg chg="del">
          <ac:chgData name="Roussel, Gaetan" userId="269e9c6f-a5fe-49a6-9b6b-1c16ee3e16b1" providerId="ADAL" clId="{A43ED10B-C0D7-409E-AD3F-D6A5AE869F78}" dt="2022-06-26T12:25:30.072" v="4356" actId="478"/>
          <ac:spMkLst>
            <pc:docMk/>
            <pc:sldMk cId="1522908915" sldId="272"/>
            <ac:spMk id="21" creationId="{163868FD-C225-4281-99CE-E88532CA73DF}"/>
          </ac:spMkLst>
        </pc:spChg>
        <pc:spChg chg="add del mod">
          <ac:chgData name="Roussel, Gaetan" userId="269e9c6f-a5fe-49a6-9b6b-1c16ee3e16b1" providerId="ADAL" clId="{A43ED10B-C0D7-409E-AD3F-D6A5AE869F78}" dt="2022-06-26T12:47:43.698" v="4589" actId="1035"/>
          <ac:spMkLst>
            <pc:docMk/>
            <pc:sldMk cId="1522908915" sldId="272"/>
            <ac:spMk id="22" creationId="{1E6D79E5-A4E8-4878-9DCA-DB6B0BD98F74}"/>
          </ac:spMkLst>
        </pc:spChg>
        <pc:spChg chg="add mod">
          <ac:chgData name="Roussel, Gaetan" userId="269e9c6f-a5fe-49a6-9b6b-1c16ee3e16b1" providerId="ADAL" clId="{A43ED10B-C0D7-409E-AD3F-D6A5AE869F78}" dt="2022-06-26T12:52:10.938" v="5017" actId="207"/>
          <ac:spMkLst>
            <pc:docMk/>
            <pc:sldMk cId="1522908915" sldId="272"/>
            <ac:spMk id="23" creationId="{0581B795-2274-460D-A1B2-40606A9CDF9E}"/>
          </ac:spMkLst>
        </pc:spChg>
        <pc:spChg chg="add del mod">
          <ac:chgData name="Roussel, Gaetan" userId="269e9c6f-a5fe-49a6-9b6b-1c16ee3e16b1" providerId="ADAL" clId="{A43ED10B-C0D7-409E-AD3F-D6A5AE869F78}" dt="2022-06-26T12:27:44.931" v="4388" actId="478"/>
          <ac:spMkLst>
            <pc:docMk/>
            <pc:sldMk cId="1522908915" sldId="272"/>
            <ac:spMk id="24" creationId="{8D7FBBB1-809C-4133-B858-70EEC40F2F0F}"/>
          </ac:spMkLst>
        </pc:spChg>
        <pc:spChg chg="add mod">
          <ac:chgData name="Roussel, Gaetan" userId="269e9c6f-a5fe-49a6-9b6b-1c16ee3e16b1" providerId="ADAL" clId="{A43ED10B-C0D7-409E-AD3F-D6A5AE869F78}" dt="2022-06-26T12:47:43.698" v="4589" actId="1035"/>
          <ac:spMkLst>
            <pc:docMk/>
            <pc:sldMk cId="1522908915" sldId="272"/>
            <ac:spMk id="25" creationId="{69A7D39B-FCD2-4ABC-AE6B-5DDF986BB487}"/>
          </ac:spMkLst>
        </pc:spChg>
        <pc:spChg chg="add del mod">
          <ac:chgData name="Roussel, Gaetan" userId="269e9c6f-a5fe-49a6-9b6b-1c16ee3e16b1" providerId="ADAL" clId="{A43ED10B-C0D7-409E-AD3F-D6A5AE869F78}" dt="2022-06-26T12:27:14.555" v="4368" actId="478"/>
          <ac:spMkLst>
            <pc:docMk/>
            <pc:sldMk cId="1522908915" sldId="272"/>
            <ac:spMk id="26" creationId="{7DC377D6-D26F-4C7E-8315-1F728FB0079B}"/>
          </ac:spMkLst>
        </pc:spChg>
        <pc:spChg chg="del mod topLvl">
          <ac:chgData name="Roussel, Gaetan" userId="269e9c6f-a5fe-49a6-9b6b-1c16ee3e16b1" providerId="ADAL" clId="{A43ED10B-C0D7-409E-AD3F-D6A5AE869F78}" dt="2022-06-26T12:27:39.920" v="4385" actId="478"/>
          <ac:spMkLst>
            <pc:docMk/>
            <pc:sldMk cId="1522908915" sldId="272"/>
            <ac:spMk id="28" creationId="{D36E3B3F-4DCC-4352-BB89-DA41196B5013}"/>
          </ac:spMkLst>
        </pc:spChg>
        <pc:spChg chg="mod topLvl">
          <ac:chgData name="Roussel, Gaetan" userId="269e9c6f-a5fe-49a6-9b6b-1c16ee3e16b1" providerId="ADAL" clId="{A43ED10B-C0D7-409E-AD3F-D6A5AE869F78}" dt="2022-06-27T13:45:29.167" v="7609" actId="13926"/>
          <ac:spMkLst>
            <pc:docMk/>
            <pc:sldMk cId="1522908915" sldId="272"/>
            <ac:spMk id="29" creationId="{28411CCC-5312-41E3-AEF2-8292630489E8}"/>
          </ac:spMkLst>
        </pc:spChg>
        <pc:spChg chg="del mod topLvl">
          <ac:chgData name="Roussel, Gaetan" userId="269e9c6f-a5fe-49a6-9b6b-1c16ee3e16b1" providerId="ADAL" clId="{A43ED10B-C0D7-409E-AD3F-D6A5AE869F78}" dt="2022-06-26T12:27:16.319" v="4369" actId="478"/>
          <ac:spMkLst>
            <pc:docMk/>
            <pc:sldMk cId="1522908915" sldId="272"/>
            <ac:spMk id="30" creationId="{2A8892A4-B657-4A31-AD0F-F0136389E3B1}"/>
          </ac:spMkLst>
        </pc:spChg>
        <pc:spChg chg="mod topLvl">
          <ac:chgData name="Roussel, Gaetan" userId="269e9c6f-a5fe-49a6-9b6b-1c16ee3e16b1" providerId="ADAL" clId="{A43ED10B-C0D7-409E-AD3F-D6A5AE869F78}" dt="2022-06-26T12:47:43.698" v="4589" actId="1035"/>
          <ac:spMkLst>
            <pc:docMk/>
            <pc:sldMk cId="1522908915" sldId="272"/>
            <ac:spMk id="32" creationId="{9B4695B5-522B-4384-995F-4FF6F3D1797C}"/>
          </ac:spMkLst>
        </pc:spChg>
        <pc:spChg chg="mod topLvl">
          <ac:chgData name="Roussel, Gaetan" userId="269e9c6f-a5fe-49a6-9b6b-1c16ee3e16b1" providerId="ADAL" clId="{A43ED10B-C0D7-409E-AD3F-D6A5AE869F78}" dt="2022-06-26T12:47:43.698" v="4589" actId="1035"/>
          <ac:spMkLst>
            <pc:docMk/>
            <pc:sldMk cId="1522908915" sldId="272"/>
            <ac:spMk id="33" creationId="{C57D4A9F-B1C1-43F3-808A-94509DF7036F}"/>
          </ac:spMkLst>
        </pc:spChg>
        <pc:spChg chg="del mod topLvl">
          <ac:chgData name="Roussel, Gaetan" userId="269e9c6f-a5fe-49a6-9b6b-1c16ee3e16b1" providerId="ADAL" clId="{A43ED10B-C0D7-409E-AD3F-D6A5AE869F78}" dt="2022-06-26T12:27:17.816" v="4370" actId="478"/>
          <ac:spMkLst>
            <pc:docMk/>
            <pc:sldMk cId="1522908915" sldId="272"/>
            <ac:spMk id="34" creationId="{8A1A49BD-BDF1-4A40-BB88-9F2F66B8992F}"/>
          </ac:spMkLst>
        </pc:spChg>
        <pc:spChg chg="add del mod">
          <ac:chgData name="Roussel, Gaetan" userId="269e9c6f-a5fe-49a6-9b6b-1c16ee3e16b1" providerId="ADAL" clId="{A43ED10B-C0D7-409E-AD3F-D6A5AE869F78}" dt="2022-06-26T12:28:24.583" v="4404" actId="478"/>
          <ac:spMkLst>
            <pc:docMk/>
            <pc:sldMk cId="1522908915" sldId="272"/>
            <ac:spMk id="35" creationId="{52DB1437-B349-4D84-B935-6C3FD53F9686}"/>
          </ac:spMkLst>
        </pc:spChg>
        <pc:spChg chg="add del mod">
          <ac:chgData name="Roussel, Gaetan" userId="269e9c6f-a5fe-49a6-9b6b-1c16ee3e16b1" providerId="ADAL" clId="{A43ED10B-C0D7-409E-AD3F-D6A5AE869F78}" dt="2022-06-26T12:28:33.940" v="4415" actId="478"/>
          <ac:spMkLst>
            <pc:docMk/>
            <pc:sldMk cId="1522908915" sldId="272"/>
            <ac:spMk id="36" creationId="{BAD50A79-EC8C-404C-8F74-8AFEFD527608}"/>
          </ac:spMkLst>
        </pc:spChg>
        <pc:spChg chg="add del mod">
          <ac:chgData name="Roussel, Gaetan" userId="269e9c6f-a5fe-49a6-9b6b-1c16ee3e16b1" providerId="ADAL" clId="{A43ED10B-C0D7-409E-AD3F-D6A5AE869F78}" dt="2022-06-26T12:28:26.852" v="4409" actId="478"/>
          <ac:spMkLst>
            <pc:docMk/>
            <pc:sldMk cId="1522908915" sldId="272"/>
            <ac:spMk id="37" creationId="{94512C1F-FDB1-48C6-BEFD-DF491A69DA89}"/>
          </ac:spMkLst>
        </pc:spChg>
        <pc:spChg chg="add del mod">
          <ac:chgData name="Roussel, Gaetan" userId="269e9c6f-a5fe-49a6-9b6b-1c16ee3e16b1" providerId="ADAL" clId="{A43ED10B-C0D7-409E-AD3F-D6A5AE869F78}" dt="2022-06-26T12:28:26.509" v="4408" actId="478"/>
          <ac:spMkLst>
            <pc:docMk/>
            <pc:sldMk cId="1522908915" sldId="272"/>
            <ac:spMk id="38" creationId="{1AE4B50C-6F2E-4CFD-8317-F1FE80C84F54}"/>
          </ac:spMkLst>
        </pc:spChg>
        <pc:spChg chg="add del mod">
          <ac:chgData name="Roussel, Gaetan" userId="269e9c6f-a5fe-49a6-9b6b-1c16ee3e16b1" providerId="ADAL" clId="{A43ED10B-C0D7-409E-AD3F-D6A5AE869F78}" dt="2022-06-26T12:28:30.393" v="4413" actId="478"/>
          <ac:spMkLst>
            <pc:docMk/>
            <pc:sldMk cId="1522908915" sldId="272"/>
            <ac:spMk id="39" creationId="{D0FD0553-00A4-499D-9E2A-5320F8537AB6}"/>
          </ac:spMkLst>
        </pc:spChg>
        <pc:spChg chg="add del mod">
          <ac:chgData name="Roussel, Gaetan" userId="269e9c6f-a5fe-49a6-9b6b-1c16ee3e16b1" providerId="ADAL" clId="{A43ED10B-C0D7-409E-AD3F-D6A5AE869F78}" dt="2022-06-26T12:28:29.723" v="4412" actId="478"/>
          <ac:spMkLst>
            <pc:docMk/>
            <pc:sldMk cId="1522908915" sldId="272"/>
            <ac:spMk id="40" creationId="{DC1C72C0-4C4C-42B3-B75E-43644A39697D}"/>
          </ac:spMkLst>
        </pc:spChg>
        <pc:spChg chg="add del mod">
          <ac:chgData name="Roussel, Gaetan" userId="269e9c6f-a5fe-49a6-9b6b-1c16ee3e16b1" providerId="ADAL" clId="{A43ED10B-C0D7-409E-AD3F-D6A5AE869F78}" dt="2022-06-26T12:28:32.651" v="4414" actId="478"/>
          <ac:spMkLst>
            <pc:docMk/>
            <pc:sldMk cId="1522908915" sldId="272"/>
            <ac:spMk id="41" creationId="{4CCEB05E-BAA6-49A5-96E8-DD603250ACCB}"/>
          </ac:spMkLst>
        </pc:spChg>
        <pc:spChg chg="add del mod">
          <ac:chgData name="Roussel, Gaetan" userId="269e9c6f-a5fe-49a6-9b6b-1c16ee3e16b1" providerId="ADAL" clId="{A43ED10B-C0D7-409E-AD3F-D6A5AE869F78}" dt="2022-06-26T12:28:25.515" v="4405" actId="478"/>
          <ac:spMkLst>
            <pc:docMk/>
            <pc:sldMk cId="1522908915" sldId="272"/>
            <ac:spMk id="42" creationId="{35360D01-A57B-4B85-8F22-044F92068EDC}"/>
          </ac:spMkLst>
        </pc:spChg>
        <pc:spChg chg="add del mod">
          <ac:chgData name="Roussel, Gaetan" userId="269e9c6f-a5fe-49a6-9b6b-1c16ee3e16b1" providerId="ADAL" clId="{A43ED10B-C0D7-409E-AD3F-D6A5AE869F78}" dt="2022-06-26T12:28:23.197" v="4403" actId="478"/>
          <ac:spMkLst>
            <pc:docMk/>
            <pc:sldMk cId="1522908915" sldId="272"/>
            <ac:spMk id="43" creationId="{0BDBF570-DB72-4AB4-8C4B-27F6D4AA23C3}"/>
          </ac:spMkLst>
        </pc:spChg>
        <pc:spChg chg="add mod">
          <ac:chgData name="Roussel, Gaetan" userId="269e9c6f-a5fe-49a6-9b6b-1c16ee3e16b1" providerId="ADAL" clId="{A43ED10B-C0D7-409E-AD3F-D6A5AE869F78}" dt="2022-06-26T12:47:43.698" v="4589" actId="1035"/>
          <ac:spMkLst>
            <pc:docMk/>
            <pc:sldMk cId="1522908915" sldId="272"/>
            <ac:spMk id="44" creationId="{CCAEA40A-CEB9-4484-8E36-0C7E65ABF470}"/>
          </ac:spMkLst>
        </pc:spChg>
        <pc:spChg chg="add del mod">
          <ac:chgData name="Roussel, Gaetan" userId="269e9c6f-a5fe-49a6-9b6b-1c16ee3e16b1" providerId="ADAL" clId="{A43ED10B-C0D7-409E-AD3F-D6A5AE869F78}" dt="2022-06-26T12:28:34.992" v="4416" actId="478"/>
          <ac:spMkLst>
            <pc:docMk/>
            <pc:sldMk cId="1522908915" sldId="272"/>
            <ac:spMk id="45" creationId="{B9EDFF53-7F2B-480D-AA4E-7D7DCD173C3F}"/>
          </ac:spMkLst>
        </pc:spChg>
        <pc:spChg chg="add del mod">
          <ac:chgData name="Roussel, Gaetan" userId="269e9c6f-a5fe-49a6-9b6b-1c16ee3e16b1" providerId="ADAL" clId="{A43ED10B-C0D7-409E-AD3F-D6A5AE869F78}" dt="2022-06-26T12:28:28.353" v="4411" actId="478"/>
          <ac:spMkLst>
            <pc:docMk/>
            <pc:sldMk cId="1522908915" sldId="272"/>
            <ac:spMk id="46" creationId="{3F1ED8A9-5B10-4730-9E6F-D01C94372DBA}"/>
          </ac:spMkLst>
        </pc:spChg>
        <pc:spChg chg="add del mod">
          <ac:chgData name="Roussel, Gaetan" userId="269e9c6f-a5fe-49a6-9b6b-1c16ee3e16b1" providerId="ADAL" clId="{A43ED10B-C0D7-409E-AD3F-D6A5AE869F78}" dt="2022-06-26T12:28:23.197" v="4403" actId="478"/>
          <ac:spMkLst>
            <pc:docMk/>
            <pc:sldMk cId="1522908915" sldId="272"/>
            <ac:spMk id="47" creationId="{FAFA5DE9-FDC2-4FF9-BECA-3B999732B656}"/>
          </ac:spMkLst>
        </pc:spChg>
        <pc:spChg chg="add mod">
          <ac:chgData name="Roussel, Gaetan" userId="269e9c6f-a5fe-49a6-9b6b-1c16ee3e16b1" providerId="ADAL" clId="{A43ED10B-C0D7-409E-AD3F-D6A5AE869F78}" dt="2022-06-26T12:47:43.698" v="4589" actId="1035"/>
          <ac:spMkLst>
            <pc:docMk/>
            <pc:sldMk cId="1522908915" sldId="272"/>
            <ac:spMk id="48" creationId="{6EA9643C-2AD7-4AEC-A813-26A2F7547C47}"/>
          </ac:spMkLst>
        </pc:spChg>
        <pc:spChg chg="add mod">
          <ac:chgData name="Roussel, Gaetan" userId="269e9c6f-a5fe-49a6-9b6b-1c16ee3e16b1" providerId="ADAL" clId="{A43ED10B-C0D7-409E-AD3F-D6A5AE869F78}" dt="2022-06-26T13:09:06.542" v="5192" actId="207"/>
          <ac:spMkLst>
            <pc:docMk/>
            <pc:sldMk cId="1522908915" sldId="272"/>
            <ac:spMk id="49" creationId="{1009CA02-FDB1-46A8-B8B5-42C97090A153}"/>
          </ac:spMkLst>
        </pc:spChg>
        <pc:spChg chg="add mod">
          <ac:chgData name="Roussel, Gaetan" userId="269e9c6f-a5fe-49a6-9b6b-1c16ee3e16b1" providerId="ADAL" clId="{A43ED10B-C0D7-409E-AD3F-D6A5AE869F78}" dt="2022-06-26T12:47:52.443" v="4612" actId="1036"/>
          <ac:spMkLst>
            <pc:docMk/>
            <pc:sldMk cId="1522908915" sldId="272"/>
            <ac:spMk id="50" creationId="{1CD9A3F8-6C68-4416-8790-2B4584C2B553}"/>
          </ac:spMkLst>
        </pc:spChg>
        <pc:spChg chg="add mod">
          <ac:chgData name="Roussel, Gaetan" userId="269e9c6f-a5fe-49a6-9b6b-1c16ee3e16b1" providerId="ADAL" clId="{A43ED10B-C0D7-409E-AD3F-D6A5AE869F78}" dt="2022-06-26T12:52:07.974" v="5016" actId="207"/>
          <ac:spMkLst>
            <pc:docMk/>
            <pc:sldMk cId="1522908915" sldId="272"/>
            <ac:spMk id="51" creationId="{FFB03786-7877-4A60-B225-933BA9B76077}"/>
          </ac:spMkLst>
        </pc:spChg>
        <pc:spChg chg="add mod">
          <ac:chgData name="Roussel, Gaetan" userId="269e9c6f-a5fe-49a6-9b6b-1c16ee3e16b1" providerId="ADAL" clId="{A43ED10B-C0D7-409E-AD3F-D6A5AE869F78}" dt="2022-06-26T12:49:26.327" v="4697" actId="20577"/>
          <ac:spMkLst>
            <pc:docMk/>
            <pc:sldMk cId="1522908915" sldId="272"/>
            <ac:spMk id="52" creationId="{7C6B689D-9731-4523-8C75-F983B776CAE0}"/>
          </ac:spMkLst>
        </pc:spChg>
        <pc:spChg chg="add mod">
          <ac:chgData name="Roussel, Gaetan" userId="269e9c6f-a5fe-49a6-9b6b-1c16ee3e16b1" providerId="ADAL" clId="{A43ED10B-C0D7-409E-AD3F-D6A5AE869F78}" dt="2022-06-26T12:50:42.101" v="4868" actId="313"/>
          <ac:spMkLst>
            <pc:docMk/>
            <pc:sldMk cId="1522908915" sldId="272"/>
            <ac:spMk id="53" creationId="{E4BF3BA6-B368-4BA6-882E-7B7F21FEF6C4}"/>
          </ac:spMkLst>
        </pc:spChg>
        <pc:spChg chg="add mod">
          <ac:chgData name="Roussel, Gaetan" userId="269e9c6f-a5fe-49a6-9b6b-1c16ee3e16b1" providerId="ADAL" clId="{A43ED10B-C0D7-409E-AD3F-D6A5AE869F78}" dt="2022-06-26T12:53:37.933" v="5141" actId="313"/>
          <ac:spMkLst>
            <pc:docMk/>
            <pc:sldMk cId="1522908915" sldId="272"/>
            <ac:spMk id="54" creationId="{ECB053FB-6134-4E18-BF92-CCF4E37ADADE}"/>
          </ac:spMkLst>
        </pc:spChg>
        <pc:spChg chg="add mod">
          <ac:chgData name="Roussel, Gaetan" userId="269e9c6f-a5fe-49a6-9b6b-1c16ee3e16b1" providerId="ADAL" clId="{A43ED10B-C0D7-409E-AD3F-D6A5AE869F78}" dt="2022-06-26T12:47:52.443" v="4612" actId="1036"/>
          <ac:spMkLst>
            <pc:docMk/>
            <pc:sldMk cId="1522908915" sldId="272"/>
            <ac:spMk id="55" creationId="{86C2DF57-D229-44AD-961B-5E66F221D3FF}"/>
          </ac:spMkLst>
        </pc:spChg>
        <pc:spChg chg="add mod">
          <ac:chgData name="Roussel, Gaetan" userId="269e9c6f-a5fe-49a6-9b6b-1c16ee3e16b1" providerId="ADAL" clId="{A43ED10B-C0D7-409E-AD3F-D6A5AE869F78}" dt="2022-06-26T12:49:13.898" v="4672" actId="20577"/>
          <ac:spMkLst>
            <pc:docMk/>
            <pc:sldMk cId="1522908915" sldId="272"/>
            <ac:spMk id="56" creationId="{B3825B54-0C5A-4D66-961B-9AF8CC521190}"/>
          </ac:spMkLst>
        </pc:spChg>
        <pc:spChg chg="add mod">
          <ac:chgData name="Roussel, Gaetan" userId="269e9c6f-a5fe-49a6-9b6b-1c16ee3e16b1" providerId="ADAL" clId="{A43ED10B-C0D7-409E-AD3F-D6A5AE869F78}" dt="2022-06-26T12:51:59.997" v="5014" actId="20577"/>
          <ac:spMkLst>
            <pc:docMk/>
            <pc:sldMk cId="1522908915" sldId="272"/>
            <ac:spMk id="57" creationId="{6EA3128C-47F6-45DD-AB15-C9E3616D8E71}"/>
          </ac:spMkLst>
        </pc:spChg>
        <pc:spChg chg="add mod">
          <ac:chgData name="Roussel, Gaetan" userId="269e9c6f-a5fe-49a6-9b6b-1c16ee3e16b1" providerId="ADAL" clId="{A43ED10B-C0D7-409E-AD3F-D6A5AE869F78}" dt="2022-06-26T12:50:40.431" v="4867" actId="313"/>
          <ac:spMkLst>
            <pc:docMk/>
            <pc:sldMk cId="1522908915" sldId="272"/>
            <ac:spMk id="58" creationId="{AC1E2B4F-79C6-4420-B526-CBF220398CF0}"/>
          </ac:spMkLst>
        </pc:spChg>
        <pc:spChg chg="add mod">
          <ac:chgData name="Roussel, Gaetan" userId="269e9c6f-a5fe-49a6-9b6b-1c16ee3e16b1" providerId="ADAL" clId="{A43ED10B-C0D7-409E-AD3F-D6A5AE869F78}" dt="2022-06-27T13:12:13.167" v="7340" actId="108"/>
          <ac:spMkLst>
            <pc:docMk/>
            <pc:sldMk cId="1522908915" sldId="272"/>
            <ac:spMk id="59" creationId="{3C2EABE7-85FB-4988-B0CF-42A36E79CE31}"/>
          </ac:spMkLst>
        </pc:spChg>
        <pc:grpChg chg="mod">
          <ac:chgData name="Roussel, Gaetan" userId="269e9c6f-a5fe-49a6-9b6b-1c16ee3e16b1" providerId="ADAL" clId="{A43ED10B-C0D7-409E-AD3F-D6A5AE869F78}" dt="2022-06-26T12:33:59.047" v="4508" actId="2711"/>
          <ac:grpSpMkLst>
            <pc:docMk/>
            <pc:sldMk cId="1522908915" sldId="272"/>
            <ac:grpSpMk id="4" creationId="{53882DFE-8A8B-4EA2-8E53-18DC598F9180}"/>
          </ac:grpSpMkLst>
        </pc:grpChg>
        <pc:grpChg chg="mod">
          <ac:chgData name="Roussel, Gaetan" userId="269e9c6f-a5fe-49a6-9b6b-1c16ee3e16b1" providerId="ADAL" clId="{A43ED10B-C0D7-409E-AD3F-D6A5AE869F78}" dt="2022-06-26T12:33:59.047" v="4508" actId="2711"/>
          <ac:grpSpMkLst>
            <pc:docMk/>
            <pc:sldMk cId="1522908915" sldId="272"/>
            <ac:grpSpMk id="11" creationId="{5061F58C-3A2E-406B-837D-2668939AD10E}"/>
          </ac:grpSpMkLst>
        </pc:grpChg>
        <pc:grpChg chg="add del mod">
          <ac:chgData name="Roussel, Gaetan" userId="269e9c6f-a5fe-49a6-9b6b-1c16ee3e16b1" providerId="ADAL" clId="{A43ED10B-C0D7-409E-AD3F-D6A5AE869F78}" dt="2022-06-26T12:26:39.731" v="4365" actId="165"/>
          <ac:grpSpMkLst>
            <pc:docMk/>
            <pc:sldMk cId="1522908915" sldId="272"/>
            <ac:grpSpMk id="27" creationId="{BB796E1F-A4B9-4877-B2DD-42933E9195CD}"/>
          </ac:grpSpMkLst>
        </pc:grpChg>
        <pc:grpChg chg="add del mod">
          <ac:chgData name="Roussel, Gaetan" userId="269e9c6f-a5fe-49a6-9b6b-1c16ee3e16b1" providerId="ADAL" clId="{A43ED10B-C0D7-409E-AD3F-D6A5AE869F78}" dt="2022-06-26T12:26:27.821" v="4363" actId="165"/>
          <ac:grpSpMkLst>
            <pc:docMk/>
            <pc:sldMk cId="1522908915" sldId="272"/>
            <ac:grpSpMk id="31" creationId="{CE96C96F-28C8-4B4E-90F0-2F8005AC081B}"/>
          </ac:grpSpMkLst>
        </pc:grpChg>
      </pc:sldChg>
      <pc:sldChg chg="addSp delSp modSp add mod ord">
        <pc:chgData name="Roussel, Gaetan" userId="269e9c6f-a5fe-49a6-9b6b-1c16ee3e16b1" providerId="ADAL" clId="{A43ED10B-C0D7-409E-AD3F-D6A5AE869F78}" dt="2022-06-30T08:56:46.334" v="11638" actId="12789"/>
        <pc:sldMkLst>
          <pc:docMk/>
          <pc:sldMk cId="2715908801" sldId="273"/>
        </pc:sldMkLst>
        <pc:spChg chg="mod">
          <ac:chgData name="Roussel, Gaetan" userId="269e9c6f-a5fe-49a6-9b6b-1c16ee3e16b1" providerId="ADAL" clId="{A43ED10B-C0D7-409E-AD3F-D6A5AE869F78}" dt="2022-06-28T18:26:38.543" v="9646" actId="403"/>
          <ac:spMkLst>
            <pc:docMk/>
            <pc:sldMk cId="2715908801" sldId="273"/>
            <ac:spMk id="2" creationId="{CB5A1A39-FEA5-45F0-8A95-1A2DE8823E7B}"/>
          </ac:spMkLst>
        </pc:spChg>
        <pc:spChg chg="mod topLvl">
          <ac:chgData name="Roussel, Gaetan" userId="269e9c6f-a5fe-49a6-9b6b-1c16ee3e16b1" providerId="ADAL" clId="{A43ED10B-C0D7-409E-AD3F-D6A5AE869F78}" dt="2022-06-30T08:16:36.617" v="11205" actId="165"/>
          <ac:spMkLst>
            <pc:docMk/>
            <pc:sldMk cId="2715908801" sldId="273"/>
            <ac:spMk id="5" creationId="{81E10ACE-8204-433C-A47C-CE8C4C39D474}"/>
          </ac:spMkLst>
        </pc:spChg>
        <pc:spChg chg="del">
          <ac:chgData name="Roussel, Gaetan" userId="269e9c6f-a5fe-49a6-9b6b-1c16ee3e16b1" providerId="ADAL" clId="{A43ED10B-C0D7-409E-AD3F-D6A5AE869F78}" dt="2022-06-27T13:13:33.611" v="7349" actId="478"/>
          <ac:spMkLst>
            <pc:docMk/>
            <pc:sldMk cId="2715908801" sldId="273"/>
            <ac:spMk id="8" creationId="{4818DEB8-EE23-4ED9-803D-DCCA250B0B49}"/>
          </ac:spMkLst>
        </pc:spChg>
        <pc:spChg chg="mod topLvl">
          <ac:chgData name="Roussel, Gaetan" userId="269e9c6f-a5fe-49a6-9b6b-1c16ee3e16b1" providerId="ADAL" clId="{A43ED10B-C0D7-409E-AD3F-D6A5AE869F78}" dt="2022-06-28T18:28:29.274" v="9672" actId="164"/>
          <ac:spMkLst>
            <pc:docMk/>
            <pc:sldMk cId="2715908801" sldId="273"/>
            <ac:spMk id="12" creationId="{BA5AEFE8-8789-492A-93A4-504B03B8259D}"/>
          </ac:spMkLst>
        </pc:spChg>
        <pc:spChg chg="mod topLvl">
          <ac:chgData name="Roussel, Gaetan" userId="269e9c6f-a5fe-49a6-9b6b-1c16ee3e16b1" providerId="ADAL" clId="{A43ED10B-C0D7-409E-AD3F-D6A5AE869F78}" dt="2022-06-28T18:28:29.274" v="9672" actId="164"/>
          <ac:spMkLst>
            <pc:docMk/>
            <pc:sldMk cId="2715908801" sldId="273"/>
            <ac:spMk id="13" creationId="{2A79D173-96EC-4C2A-89EC-0F50087BD980}"/>
          </ac:spMkLst>
        </pc:spChg>
        <pc:spChg chg="mod">
          <ac:chgData name="Roussel, Gaetan" userId="269e9c6f-a5fe-49a6-9b6b-1c16ee3e16b1" providerId="ADAL" clId="{A43ED10B-C0D7-409E-AD3F-D6A5AE869F78}" dt="2022-06-26T18:06:38.707" v="5687"/>
          <ac:spMkLst>
            <pc:docMk/>
            <pc:sldMk cId="2715908801" sldId="273"/>
            <ac:spMk id="15" creationId="{6F6AD82F-0BB8-449F-AAB4-60795EF07859}"/>
          </ac:spMkLst>
        </pc:spChg>
        <pc:spChg chg="mod">
          <ac:chgData name="Roussel, Gaetan" userId="269e9c6f-a5fe-49a6-9b6b-1c16ee3e16b1" providerId="ADAL" clId="{A43ED10B-C0D7-409E-AD3F-D6A5AE869F78}" dt="2022-06-26T18:06:38.707" v="5687"/>
          <ac:spMkLst>
            <pc:docMk/>
            <pc:sldMk cId="2715908801" sldId="273"/>
            <ac:spMk id="17" creationId="{C6F51231-63EB-4085-BCBB-C9C8567F763B}"/>
          </ac:spMkLst>
        </pc:spChg>
        <pc:spChg chg="mod">
          <ac:chgData name="Roussel, Gaetan" userId="269e9c6f-a5fe-49a6-9b6b-1c16ee3e16b1" providerId="ADAL" clId="{A43ED10B-C0D7-409E-AD3F-D6A5AE869F78}" dt="2022-06-26T18:06:38.707" v="5687"/>
          <ac:spMkLst>
            <pc:docMk/>
            <pc:sldMk cId="2715908801" sldId="273"/>
            <ac:spMk id="20" creationId="{1DC567DF-FFD4-402D-A64B-4E88243E0C57}"/>
          </ac:spMkLst>
        </pc:spChg>
        <pc:spChg chg="mod">
          <ac:chgData name="Roussel, Gaetan" userId="269e9c6f-a5fe-49a6-9b6b-1c16ee3e16b1" providerId="ADAL" clId="{A43ED10B-C0D7-409E-AD3F-D6A5AE869F78}" dt="2022-06-26T18:06:38.707" v="5687"/>
          <ac:spMkLst>
            <pc:docMk/>
            <pc:sldMk cId="2715908801" sldId="273"/>
            <ac:spMk id="21" creationId="{149C19B3-07CD-4452-8BDD-3C9C16452702}"/>
          </ac:spMkLst>
        </pc:spChg>
        <pc:spChg chg="mod">
          <ac:chgData name="Roussel, Gaetan" userId="269e9c6f-a5fe-49a6-9b6b-1c16ee3e16b1" providerId="ADAL" clId="{A43ED10B-C0D7-409E-AD3F-D6A5AE869F78}" dt="2022-06-26T18:06:38.707" v="5687"/>
          <ac:spMkLst>
            <pc:docMk/>
            <pc:sldMk cId="2715908801" sldId="273"/>
            <ac:spMk id="23" creationId="{8B4C0938-736C-47A0-A4B9-A64544E697E6}"/>
          </ac:spMkLst>
        </pc:spChg>
        <pc:spChg chg="mod">
          <ac:chgData name="Roussel, Gaetan" userId="269e9c6f-a5fe-49a6-9b6b-1c16ee3e16b1" providerId="ADAL" clId="{A43ED10B-C0D7-409E-AD3F-D6A5AE869F78}" dt="2022-06-26T18:06:38.707" v="5687"/>
          <ac:spMkLst>
            <pc:docMk/>
            <pc:sldMk cId="2715908801" sldId="273"/>
            <ac:spMk id="25" creationId="{047ED529-3D6B-4463-8ACF-15E2CA10D531}"/>
          </ac:spMkLst>
        </pc:spChg>
        <pc:spChg chg="mod topLvl">
          <ac:chgData name="Roussel, Gaetan" userId="269e9c6f-a5fe-49a6-9b6b-1c16ee3e16b1" providerId="ADAL" clId="{A43ED10B-C0D7-409E-AD3F-D6A5AE869F78}" dt="2022-06-28T18:28:23.590" v="9671" actId="164"/>
          <ac:spMkLst>
            <pc:docMk/>
            <pc:sldMk cId="2715908801" sldId="273"/>
            <ac:spMk id="28" creationId="{BDB22D0F-0836-4049-BE75-D8DAF4255E88}"/>
          </ac:spMkLst>
        </pc:spChg>
        <pc:spChg chg="mod topLvl">
          <ac:chgData name="Roussel, Gaetan" userId="269e9c6f-a5fe-49a6-9b6b-1c16ee3e16b1" providerId="ADAL" clId="{A43ED10B-C0D7-409E-AD3F-D6A5AE869F78}" dt="2022-06-28T18:28:23.590" v="9671" actId="164"/>
          <ac:spMkLst>
            <pc:docMk/>
            <pc:sldMk cId="2715908801" sldId="273"/>
            <ac:spMk id="29" creationId="{7AB965CD-2228-4B30-BCE0-2EF80BB783CC}"/>
          </ac:spMkLst>
        </pc:spChg>
        <pc:spChg chg="mod">
          <ac:chgData name="Roussel, Gaetan" userId="269e9c6f-a5fe-49a6-9b6b-1c16ee3e16b1" providerId="ADAL" clId="{A43ED10B-C0D7-409E-AD3F-D6A5AE869F78}" dt="2022-06-26T18:06:38.707" v="5687"/>
          <ac:spMkLst>
            <pc:docMk/>
            <pc:sldMk cId="2715908801" sldId="273"/>
            <ac:spMk id="31" creationId="{9F1DE1FB-1E1E-412D-9101-1D2FE339CABC}"/>
          </ac:spMkLst>
        </pc:spChg>
        <pc:spChg chg="mod">
          <ac:chgData name="Roussel, Gaetan" userId="269e9c6f-a5fe-49a6-9b6b-1c16ee3e16b1" providerId="ADAL" clId="{A43ED10B-C0D7-409E-AD3F-D6A5AE869F78}" dt="2022-06-26T18:06:38.707" v="5687"/>
          <ac:spMkLst>
            <pc:docMk/>
            <pc:sldMk cId="2715908801" sldId="273"/>
            <ac:spMk id="33" creationId="{A5E3FA07-B5AC-4886-A22F-1112296B829F}"/>
          </ac:spMkLst>
        </pc:spChg>
        <pc:spChg chg="mod">
          <ac:chgData name="Roussel, Gaetan" userId="269e9c6f-a5fe-49a6-9b6b-1c16ee3e16b1" providerId="ADAL" clId="{A43ED10B-C0D7-409E-AD3F-D6A5AE869F78}" dt="2022-06-26T18:06:38.707" v="5687"/>
          <ac:spMkLst>
            <pc:docMk/>
            <pc:sldMk cId="2715908801" sldId="273"/>
            <ac:spMk id="36" creationId="{4BADCCE0-A4D9-4215-AC91-983F703C0E0B}"/>
          </ac:spMkLst>
        </pc:spChg>
        <pc:spChg chg="mod">
          <ac:chgData name="Roussel, Gaetan" userId="269e9c6f-a5fe-49a6-9b6b-1c16ee3e16b1" providerId="ADAL" clId="{A43ED10B-C0D7-409E-AD3F-D6A5AE869F78}" dt="2022-06-26T18:06:38.707" v="5687"/>
          <ac:spMkLst>
            <pc:docMk/>
            <pc:sldMk cId="2715908801" sldId="273"/>
            <ac:spMk id="37" creationId="{C1E7A4F3-A521-4D1A-9324-A359A2848F45}"/>
          </ac:spMkLst>
        </pc:spChg>
        <pc:spChg chg="mod topLvl">
          <ac:chgData name="Roussel, Gaetan" userId="269e9c6f-a5fe-49a6-9b6b-1c16ee3e16b1" providerId="ADAL" clId="{A43ED10B-C0D7-409E-AD3F-D6A5AE869F78}" dt="2022-06-28T18:28:19.396" v="9670" actId="164"/>
          <ac:spMkLst>
            <pc:docMk/>
            <pc:sldMk cId="2715908801" sldId="273"/>
            <ac:spMk id="40" creationId="{1C83C808-7950-45D9-8B2E-75F805DBBDAF}"/>
          </ac:spMkLst>
        </pc:spChg>
        <pc:spChg chg="mod topLvl">
          <ac:chgData name="Roussel, Gaetan" userId="269e9c6f-a5fe-49a6-9b6b-1c16ee3e16b1" providerId="ADAL" clId="{A43ED10B-C0D7-409E-AD3F-D6A5AE869F78}" dt="2022-06-28T18:28:19.396" v="9670" actId="164"/>
          <ac:spMkLst>
            <pc:docMk/>
            <pc:sldMk cId="2715908801" sldId="273"/>
            <ac:spMk id="41" creationId="{1A4B0FDC-3B6B-48DA-BFE1-2E0FF147C8FE}"/>
          </ac:spMkLst>
        </pc:spChg>
        <pc:spChg chg="add mod">
          <ac:chgData name="Roussel, Gaetan" userId="269e9c6f-a5fe-49a6-9b6b-1c16ee3e16b1" providerId="ADAL" clId="{A43ED10B-C0D7-409E-AD3F-D6A5AE869F78}" dt="2022-06-26T18:13:10.180" v="6046" actId="1035"/>
          <ac:spMkLst>
            <pc:docMk/>
            <pc:sldMk cId="2715908801" sldId="273"/>
            <ac:spMk id="42" creationId="{8FD987F4-764C-41CD-AD24-FB6342BE8604}"/>
          </ac:spMkLst>
        </pc:spChg>
        <pc:spChg chg="add mod">
          <ac:chgData name="Roussel, Gaetan" userId="269e9c6f-a5fe-49a6-9b6b-1c16ee3e16b1" providerId="ADAL" clId="{A43ED10B-C0D7-409E-AD3F-D6A5AE869F78}" dt="2022-06-26T18:13:10.180" v="6046" actId="1035"/>
          <ac:spMkLst>
            <pc:docMk/>
            <pc:sldMk cId="2715908801" sldId="273"/>
            <ac:spMk id="43" creationId="{5937FCD4-3805-42AF-8308-41A6CD4398BF}"/>
          </ac:spMkLst>
        </pc:spChg>
        <pc:spChg chg="add mod">
          <ac:chgData name="Roussel, Gaetan" userId="269e9c6f-a5fe-49a6-9b6b-1c16ee3e16b1" providerId="ADAL" clId="{A43ED10B-C0D7-409E-AD3F-D6A5AE869F78}" dt="2022-06-26T18:13:10.180" v="6046" actId="1035"/>
          <ac:spMkLst>
            <pc:docMk/>
            <pc:sldMk cId="2715908801" sldId="273"/>
            <ac:spMk id="44" creationId="{CADA2B11-A785-425C-B1EB-F5F7085B52E6}"/>
          </ac:spMkLst>
        </pc:spChg>
        <pc:spChg chg="add mod">
          <ac:chgData name="Roussel, Gaetan" userId="269e9c6f-a5fe-49a6-9b6b-1c16ee3e16b1" providerId="ADAL" clId="{A43ED10B-C0D7-409E-AD3F-D6A5AE869F78}" dt="2022-06-26T18:13:10.180" v="6046" actId="1035"/>
          <ac:spMkLst>
            <pc:docMk/>
            <pc:sldMk cId="2715908801" sldId="273"/>
            <ac:spMk id="45" creationId="{9709D6F6-82A7-41C0-9815-4AC09C7E1DAC}"/>
          </ac:spMkLst>
        </pc:spChg>
        <pc:spChg chg="add mod">
          <ac:chgData name="Roussel, Gaetan" userId="269e9c6f-a5fe-49a6-9b6b-1c16ee3e16b1" providerId="ADAL" clId="{A43ED10B-C0D7-409E-AD3F-D6A5AE869F78}" dt="2022-06-27T13:15:22.468" v="7410" actId="1076"/>
          <ac:spMkLst>
            <pc:docMk/>
            <pc:sldMk cId="2715908801" sldId="273"/>
            <ac:spMk id="46" creationId="{0D182B79-E8E1-4279-A59F-AE545E150C38}"/>
          </ac:spMkLst>
        </pc:spChg>
        <pc:spChg chg="mod">
          <ac:chgData name="Roussel, Gaetan" userId="269e9c6f-a5fe-49a6-9b6b-1c16ee3e16b1" providerId="ADAL" clId="{A43ED10B-C0D7-409E-AD3F-D6A5AE869F78}" dt="2022-06-26T18:10:19.934" v="5848"/>
          <ac:spMkLst>
            <pc:docMk/>
            <pc:sldMk cId="2715908801" sldId="273"/>
            <ac:spMk id="48" creationId="{597E2DD2-81E4-4970-BA59-C80BF75F1D51}"/>
          </ac:spMkLst>
        </pc:spChg>
        <pc:spChg chg="mod">
          <ac:chgData name="Roussel, Gaetan" userId="269e9c6f-a5fe-49a6-9b6b-1c16ee3e16b1" providerId="ADAL" clId="{A43ED10B-C0D7-409E-AD3F-D6A5AE869F78}" dt="2022-06-26T18:10:19.934" v="5848"/>
          <ac:spMkLst>
            <pc:docMk/>
            <pc:sldMk cId="2715908801" sldId="273"/>
            <ac:spMk id="49" creationId="{359759CD-D9B8-4A65-B4C9-EA538E29B6EC}"/>
          </ac:spMkLst>
        </pc:spChg>
        <pc:spChg chg="mod">
          <ac:chgData name="Roussel, Gaetan" userId="269e9c6f-a5fe-49a6-9b6b-1c16ee3e16b1" providerId="ADAL" clId="{A43ED10B-C0D7-409E-AD3F-D6A5AE869F78}" dt="2022-06-26T18:13:38.375" v="6096"/>
          <ac:spMkLst>
            <pc:docMk/>
            <pc:sldMk cId="2715908801" sldId="273"/>
            <ac:spMk id="51" creationId="{C04CE9F7-7BB5-4BA4-9FE2-6B370E71E2BF}"/>
          </ac:spMkLst>
        </pc:spChg>
        <pc:spChg chg="mod">
          <ac:chgData name="Roussel, Gaetan" userId="269e9c6f-a5fe-49a6-9b6b-1c16ee3e16b1" providerId="ADAL" clId="{A43ED10B-C0D7-409E-AD3F-D6A5AE869F78}" dt="2022-06-26T18:13:38.375" v="6096"/>
          <ac:spMkLst>
            <pc:docMk/>
            <pc:sldMk cId="2715908801" sldId="273"/>
            <ac:spMk id="53" creationId="{25F8DF1F-2CFD-4C3E-95AC-8CCC23DD59FA}"/>
          </ac:spMkLst>
        </pc:spChg>
        <pc:spChg chg="mod topLvl">
          <ac:chgData name="Roussel, Gaetan" userId="269e9c6f-a5fe-49a6-9b6b-1c16ee3e16b1" providerId="ADAL" clId="{A43ED10B-C0D7-409E-AD3F-D6A5AE869F78}" dt="2022-06-26T18:14:29.236" v="6234" actId="164"/>
          <ac:spMkLst>
            <pc:docMk/>
            <pc:sldMk cId="2715908801" sldId="273"/>
            <ac:spMk id="55" creationId="{5E1928D8-CA63-47F9-8A5A-FA6B29C863C0}"/>
          </ac:spMkLst>
        </pc:spChg>
        <pc:spChg chg="mod topLvl">
          <ac:chgData name="Roussel, Gaetan" userId="269e9c6f-a5fe-49a6-9b6b-1c16ee3e16b1" providerId="ADAL" clId="{A43ED10B-C0D7-409E-AD3F-D6A5AE869F78}" dt="2022-06-26T18:14:29.236" v="6234" actId="164"/>
          <ac:spMkLst>
            <pc:docMk/>
            <pc:sldMk cId="2715908801" sldId="273"/>
            <ac:spMk id="57" creationId="{DC3C7EAB-228A-41E0-8F72-81556EDA8270}"/>
          </ac:spMkLst>
        </pc:spChg>
        <pc:spChg chg="add mod">
          <ac:chgData name="Roussel, Gaetan" userId="269e9c6f-a5fe-49a6-9b6b-1c16ee3e16b1" providerId="ADAL" clId="{A43ED10B-C0D7-409E-AD3F-D6A5AE869F78}" dt="2022-06-30T08:53:38.383" v="11623" actId="20577"/>
          <ac:spMkLst>
            <pc:docMk/>
            <pc:sldMk cId="2715908801" sldId="273"/>
            <ac:spMk id="60" creationId="{BF843DF3-4708-4A9F-9FF5-F5C0E7BEA882}"/>
          </ac:spMkLst>
        </pc:spChg>
        <pc:spChg chg="add mod">
          <ac:chgData name="Roussel, Gaetan" userId="269e9c6f-a5fe-49a6-9b6b-1c16ee3e16b1" providerId="ADAL" clId="{A43ED10B-C0D7-409E-AD3F-D6A5AE869F78}" dt="2022-06-29T12:39:31.867" v="11046" actId="1076"/>
          <ac:spMkLst>
            <pc:docMk/>
            <pc:sldMk cId="2715908801" sldId="273"/>
            <ac:spMk id="64" creationId="{2687F88F-8BC9-4C5E-A2E1-A9F12C96800C}"/>
          </ac:spMkLst>
        </pc:spChg>
        <pc:spChg chg="add del mod">
          <ac:chgData name="Roussel, Gaetan" userId="269e9c6f-a5fe-49a6-9b6b-1c16ee3e16b1" providerId="ADAL" clId="{A43ED10B-C0D7-409E-AD3F-D6A5AE869F78}" dt="2022-06-29T12:39:38.275" v="11048"/>
          <ac:spMkLst>
            <pc:docMk/>
            <pc:sldMk cId="2715908801" sldId="273"/>
            <ac:spMk id="65" creationId="{E3B7A932-D7D1-4045-82E9-57B5A1EC7792}"/>
          </ac:spMkLst>
        </pc:spChg>
        <pc:spChg chg="add mod">
          <ac:chgData name="Roussel, Gaetan" userId="269e9c6f-a5fe-49a6-9b6b-1c16ee3e16b1" providerId="ADAL" clId="{A43ED10B-C0D7-409E-AD3F-D6A5AE869F78}" dt="2022-06-29T12:39:45.445" v="11050" actId="1076"/>
          <ac:spMkLst>
            <pc:docMk/>
            <pc:sldMk cId="2715908801" sldId="273"/>
            <ac:spMk id="66" creationId="{2832289C-B3BE-47C6-BA99-900700A37710}"/>
          </ac:spMkLst>
        </pc:spChg>
        <pc:spChg chg="add mod">
          <ac:chgData name="Roussel, Gaetan" userId="269e9c6f-a5fe-49a6-9b6b-1c16ee3e16b1" providerId="ADAL" clId="{A43ED10B-C0D7-409E-AD3F-D6A5AE869F78}" dt="2022-06-30T08:56:46.334" v="11638" actId="12789"/>
          <ac:spMkLst>
            <pc:docMk/>
            <pc:sldMk cId="2715908801" sldId="273"/>
            <ac:spMk id="67" creationId="{03242E94-ACB8-4402-9F6C-77D66E79CE95}"/>
          </ac:spMkLst>
        </pc:spChg>
        <pc:spChg chg="add mod">
          <ac:chgData name="Roussel, Gaetan" userId="269e9c6f-a5fe-49a6-9b6b-1c16ee3e16b1" providerId="ADAL" clId="{A43ED10B-C0D7-409E-AD3F-D6A5AE869F78}" dt="2022-06-30T08:56:46.334" v="11638" actId="12789"/>
          <ac:spMkLst>
            <pc:docMk/>
            <pc:sldMk cId="2715908801" sldId="273"/>
            <ac:spMk id="68" creationId="{FFAA48AF-54AC-4A34-A5D5-D213810B63DD}"/>
          </ac:spMkLst>
        </pc:spChg>
        <pc:grpChg chg="del">
          <ac:chgData name="Roussel, Gaetan" userId="269e9c6f-a5fe-49a6-9b6b-1c16ee3e16b1" providerId="ADAL" clId="{A43ED10B-C0D7-409E-AD3F-D6A5AE869F78}" dt="2022-06-30T08:16:36.617" v="11205" actId="165"/>
          <ac:grpSpMkLst>
            <pc:docMk/>
            <pc:sldMk cId="2715908801" sldId="273"/>
            <ac:grpSpMk id="4" creationId="{53882DFE-8A8B-4EA2-8E53-18DC598F9180}"/>
          </ac:grpSpMkLst>
        </pc:grpChg>
        <pc:grpChg chg="add del mod">
          <ac:chgData name="Roussel, Gaetan" userId="269e9c6f-a5fe-49a6-9b6b-1c16ee3e16b1" providerId="ADAL" clId="{A43ED10B-C0D7-409E-AD3F-D6A5AE869F78}" dt="2022-06-28T18:27:49.945" v="9664" actId="165"/>
          <ac:grpSpMkLst>
            <pc:docMk/>
            <pc:sldMk cId="2715908801" sldId="273"/>
            <ac:grpSpMk id="10" creationId="{7CFC5C79-4C8F-4AA5-B1AB-12EBD0FC0D50}"/>
          </ac:grpSpMkLst>
        </pc:grpChg>
        <pc:grpChg chg="add mod">
          <ac:chgData name="Roussel, Gaetan" userId="269e9c6f-a5fe-49a6-9b6b-1c16ee3e16b1" providerId="ADAL" clId="{A43ED10B-C0D7-409E-AD3F-D6A5AE869F78}" dt="2022-06-26T18:13:10.180" v="6046" actId="1035"/>
          <ac:grpSpMkLst>
            <pc:docMk/>
            <pc:sldMk cId="2715908801" sldId="273"/>
            <ac:grpSpMk id="14" creationId="{F5A0370B-CE66-43EE-A125-56A4D449EB63}"/>
          </ac:grpSpMkLst>
        </pc:grpChg>
        <pc:grpChg chg="add mod">
          <ac:chgData name="Roussel, Gaetan" userId="269e9c6f-a5fe-49a6-9b6b-1c16ee3e16b1" providerId="ADAL" clId="{A43ED10B-C0D7-409E-AD3F-D6A5AE869F78}" dt="2022-06-26T18:13:10.180" v="6046" actId="1035"/>
          <ac:grpSpMkLst>
            <pc:docMk/>
            <pc:sldMk cId="2715908801" sldId="273"/>
            <ac:grpSpMk id="18" creationId="{514D465E-964E-4054-8307-A648A4737BE1}"/>
          </ac:grpSpMkLst>
        </pc:grpChg>
        <pc:grpChg chg="add mod">
          <ac:chgData name="Roussel, Gaetan" userId="269e9c6f-a5fe-49a6-9b6b-1c16ee3e16b1" providerId="ADAL" clId="{A43ED10B-C0D7-409E-AD3F-D6A5AE869F78}" dt="2022-06-26T18:13:10.180" v="6046" actId="1035"/>
          <ac:grpSpMkLst>
            <pc:docMk/>
            <pc:sldMk cId="2715908801" sldId="273"/>
            <ac:grpSpMk id="22" creationId="{51B0FDF7-FB22-4B2E-9B62-DE0F04A3FD62}"/>
          </ac:grpSpMkLst>
        </pc:grpChg>
        <pc:grpChg chg="add del mod">
          <ac:chgData name="Roussel, Gaetan" userId="269e9c6f-a5fe-49a6-9b6b-1c16ee3e16b1" providerId="ADAL" clId="{A43ED10B-C0D7-409E-AD3F-D6A5AE869F78}" dt="2022-06-28T18:27:53.820" v="9665" actId="165"/>
          <ac:grpSpMkLst>
            <pc:docMk/>
            <pc:sldMk cId="2715908801" sldId="273"/>
            <ac:grpSpMk id="26" creationId="{9B9061A0-81E8-4B77-B310-15F5FDC20737}"/>
          </ac:grpSpMkLst>
        </pc:grpChg>
        <pc:grpChg chg="add mod">
          <ac:chgData name="Roussel, Gaetan" userId="269e9c6f-a5fe-49a6-9b6b-1c16ee3e16b1" providerId="ADAL" clId="{A43ED10B-C0D7-409E-AD3F-D6A5AE869F78}" dt="2022-06-26T18:13:10.180" v="6046" actId="1035"/>
          <ac:grpSpMkLst>
            <pc:docMk/>
            <pc:sldMk cId="2715908801" sldId="273"/>
            <ac:grpSpMk id="30" creationId="{AB63C1CF-2A36-41D0-B23B-7D789396318E}"/>
          </ac:grpSpMkLst>
        </pc:grpChg>
        <pc:grpChg chg="add mod">
          <ac:chgData name="Roussel, Gaetan" userId="269e9c6f-a5fe-49a6-9b6b-1c16ee3e16b1" providerId="ADAL" clId="{A43ED10B-C0D7-409E-AD3F-D6A5AE869F78}" dt="2022-06-26T18:13:10.180" v="6046" actId="1035"/>
          <ac:grpSpMkLst>
            <pc:docMk/>
            <pc:sldMk cId="2715908801" sldId="273"/>
            <ac:grpSpMk id="34" creationId="{EDBD2E45-BD3C-431D-BAA3-6543F6826457}"/>
          </ac:grpSpMkLst>
        </pc:grpChg>
        <pc:grpChg chg="add del mod">
          <ac:chgData name="Roussel, Gaetan" userId="269e9c6f-a5fe-49a6-9b6b-1c16ee3e16b1" providerId="ADAL" clId="{A43ED10B-C0D7-409E-AD3F-D6A5AE869F78}" dt="2022-06-28T18:27:57.002" v="9666" actId="165"/>
          <ac:grpSpMkLst>
            <pc:docMk/>
            <pc:sldMk cId="2715908801" sldId="273"/>
            <ac:grpSpMk id="38" creationId="{1C2CF492-806D-4822-B4B6-128956327AFA}"/>
          </ac:grpSpMkLst>
        </pc:grpChg>
        <pc:grpChg chg="add mod">
          <ac:chgData name="Roussel, Gaetan" userId="269e9c6f-a5fe-49a6-9b6b-1c16ee3e16b1" providerId="ADAL" clId="{A43ED10B-C0D7-409E-AD3F-D6A5AE869F78}" dt="2022-06-26T18:10:19.934" v="5848"/>
          <ac:grpSpMkLst>
            <pc:docMk/>
            <pc:sldMk cId="2715908801" sldId="273"/>
            <ac:grpSpMk id="47" creationId="{F30C595A-B343-40AD-9E31-CC0D5E412108}"/>
          </ac:grpSpMkLst>
        </pc:grpChg>
        <pc:grpChg chg="add mod">
          <ac:chgData name="Roussel, Gaetan" userId="269e9c6f-a5fe-49a6-9b6b-1c16ee3e16b1" providerId="ADAL" clId="{A43ED10B-C0D7-409E-AD3F-D6A5AE869F78}" dt="2022-06-26T18:13:46.434" v="6149" actId="1037"/>
          <ac:grpSpMkLst>
            <pc:docMk/>
            <pc:sldMk cId="2715908801" sldId="273"/>
            <ac:grpSpMk id="50" creationId="{45DD5B57-C0B2-4A13-AFAE-0F44D29AE45C}"/>
          </ac:grpSpMkLst>
        </pc:grpChg>
        <pc:grpChg chg="add del mod">
          <ac:chgData name="Roussel, Gaetan" userId="269e9c6f-a5fe-49a6-9b6b-1c16ee3e16b1" providerId="ADAL" clId="{A43ED10B-C0D7-409E-AD3F-D6A5AE869F78}" dt="2022-06-26T18:14:00.881" v="6227" actId="165"/>
          <ac:grpSpMkLst>
            <pc:docMk/>
            <pc:sldMk cId="2715908801" sldId="273"/>
            <ac:grpSpMk id="54" creationId="{50DB2E11-5756-41A2-A192-C6D1BB946F86}"/>
          </ac:grpSpMkLst>
        </pc:grpChg>
        <pc:grpChg chg="add mod">
          <ac:chgData name="Roussel, Gaetan" userId="269e9c6f-a5fe-49a6-9b6b-1c16ee3e16b1" providerId="ADAL" clId="{A43ED10B-C0D7-409E-AD3F-D6A5AE869F78}" dt="2022-06-26T18:14:29.236" v="6234" actId="164"/>
          <ac:grpSpMkLst>
            <pc:docMk/>
            <pc:sldMk cId="2715908801" sldId="273"/>
            <ac:grpSpMk id="59" creationId="{C0C3E6A2-D278-4B50-9617-DC214337F6C3}"/>
          </ac:grpSpMkLst>
        </pc:grpChg>
        <pc:grpChg chg="add mod">
          <ac:chgData name="Roussel, Gaetan" userId="269e9c6f-a5fe-49a6-9b6b-1c16ee3e16b1" providerId="ADAL" clId="{A43ED10B-C0D7-409E-AD3F-D6A5AE869F78}" dt="2022-06-28T18:28:19.396" v="9670" actId="164"/>
          <ac:grpSpMkLst>
            <pc:docMk/>
            <pc:sldMk cId="2715908801" sldId="273"/>
            <ac:grpSpMk id="61" creationId="{65522755-6C1A-40A4-A054-3D2B7A561E58}"/>
          </ac:grpSpMkLst>
        </pc:grpChg>
        <pc:grpChg chg="add mod">
          <ac:chgData name="Roussel, Gaetan" userId="269e9c6f-a5fe-49a6-9b6b-1c16ee3e16b1" providerId="ADAL" clId="{A43ED10B-C0D7-409E-AD3F-D6A5AE869F78}" dt="2022-06-28T18:28:23.590" v="9671" actId="164"/>
          <ac:grpSpMkLst>
            <pc:docMk/>
            <pc:sldMk cId="2715908801" sldId="273"/>
            <ac:grpSpMk id="62" creationId="{1C304519-864E-4FFC-ACD1-FFDDB3AB8C3A}"/>
          </ac:grpSpMkLst>
        </pc:grpChg>
        <pc:grpChg chg="add mod">
          <ac:chgData name="Roussel, Gaetan" userId="269e9c6f-a5fe-49a6-9b6b-1c16ee3e16b1" providerId="ADAL" clId="{A43ED10B-C0D7-409E-AD3F-D6A5AE869F78}" dt="2022-06-28T18:28:29.274" v="9672" actId="164"/>
          <ac:grpSpMkLst>
            <pc:docMk/>
            <pc:sldMk cId="2715908801" sldId="273"/>
            <ac:grpSpMk id="63" creationId="{FEF86B91-1670-4CFC-B2F5-017D3BECEDCD}"/>
          </ac:grpSpMkLst>
        </pc:grpChg>
        <pc:graphicFrameChg chg="add mod modGraphic">
          <ac:chgData name="Roussel, Gaetan" userId="269e9c6f-a5fe-49a6-9b6b-1c16ee3e16b1" providerId="ADAL" clId="{A43ED10B-C0D7-409E-AD3F-D6A5AE869F78}" dt="2022-06-26T18:13:29.418" v="6095" actId="20577"/>
          <ac:graphicFrameMkLst>
            <pc:docMk/>
            <pc:sldMk cId="2715908801" sldId="273"/>
            <ac:graphicFrameMk id="9" creationId="{1DDA657C-1319-4C01-B6FD-A88E1B4C85BC}"/>
          </ac:graphicFrameMkLst>
        </pc:graphicFrameChg>
        <pc:picChg chg="del mod topLvl">
          <ac:chgData name="Roussel, Gaetan" userId="269e9c6f-a5fe-49a6-9b6b-1c16ee3e16b1" providerId="ADAL" clId="{A43ED10B-C0D7-409E-AD3F-D6A5AE869F78}" dt="2022-06-30T08:16:39.227" v="11206" actId="478"/>
          <ac:picMkLst>
            <pc:docMk/>
            <pc:sldMk cId="2715908801" sldId="273"/>
            <ac:picMk id="6" creationId="{47F3CF94-A622-43E9-B30E-55A33040A8F7}"/>
          </ac:picMkLst>
        </pc:picChg>
        <pc:picChg chg="mod topLvl">
          <ac:chgData name="Roussel, Gaetan" userId="269e9c6f-a5fe-49a6-9b6b-1c16ee3e16b1" providerId="ADAL" clId="{A43ED10B-C0D7-409E-AD3F-D6A5AE869F78}" dt="2022-06-30T08:16:36.617" v="11205" actId="165"/>
          <ac:picMkLst>
            <pc:docMk/>
            <pc:sldMk cId="2715908801" sldId="273"/>
            <ac:picMk id="7" creationId="{981A2C2E-67FB-4095-850E-3C58285190B2}"/>
          </ac:picMkLst>
        </pc:picChg>
        <pc:picChg chg="add mod">
          <ac:chgData name="Roussel, Gaetan" userId="269e9c6f-a5fe-49a6-9b6b-1c16ee3e16b1" providerId="ADAL" clId="{A43ED10B-C0D7-409E-AD3F-D6A5AE869F78}" dt="2022-06-30T08:16:39.694" v="11207"/>
          <ac:picMkLst>
            <pc:docMk/>
            <pc:sldMk cId="2715908801" sldId="273"/>
            <ac:picMk id="65" creationId="{723AEA15-68EB-4003-A3A9-D0558AE702DB}"/>
          </ac:picMkLst>
        </pc:picChg>
        <pc:cxnChg chg="mod topLvl">
          <ac:chgData name="Roussel, Gaetan" userId="269e9c6f-a5fe-49a6-9b6b-1c16ee3e16b1" providerId="ADAL" clId="{A43ED10B-C0D7-409E-AD3F-D6A5AE869F78}" dt="2022-06-28T18:28:29.274" v="9672" actId="164"/>
          <ac:cxnSpMkLst>
            <pc:docMk/>
            <pc:sldMk cId="2715908801" sldId="273"/>
            <ac:cxnSpMk id="11" creationId="{0C53552F-3B60-4E2D-8616-5DBA511DA12B}"/>
          </ac:cxnSpMkLst>
        </pc:cxnChg>
        <pc:cxnChg chg="mod">
          <ac:chgData name="Roussel, Gaetan" userId="269e9c6f-a5fe-49a6-9b6b-1c16ee3e16b1" providerId="ADAL" clId="{A43ED10B-C0D7-409E-AD3F-D6A5AE869F78}" dt="2022-06-26T18:06:38.707" v="5687"/>
          <ac:cxnSpMkLst>
            <pc:docMk/>
            <pc:sldMk cId="2715908801" sldId="273"/>
            <ac:cxnSpMk id="16" creationId="{8EF8507C-B0FA-4385-B567-F23F901EF3CA}"/>
          </ac:cxnSpMkLst>
        </pc:cxnChg>
        <pc:cxnChg chg="mod">
          <ac:chgData name="Roussel, Gaetan" userId="269e9c6f-a5fe-49a6-9b6b-1c16ee3e16b1" providerId="ADAL" clId="{A43ED10B-C0D7-409E-AD3F-D6A5AE869F78}" dt="2022-06-26T18:06:38.707" v="5687"/>
          <ac:cxnSpMkLst>
            <pc:docMk/>
            <pc:sldMk cId="2715908801" sldId="273"/>
            <ac:cxnSpMk id="19" creationId="{08F54D95-078C-464A-BBE4-3E3EB2FC361E}"/>
          </ac:cxnSpMkLst>
        </pc:cxnChg>
        <pc:cxnChg chg="mod">
          <ac:chgData name="Roussel, Gaetan" userId="269e9c6f-a5fe-49a6-9b6b-1c16ee3e16b1" providerId="ADAL" clId="{A43ED10B-C0D7-409E-AD3F-D6A5AE869F78}" dt="2022-06-26T18:06:38.707" v="5687"/>
          <ac:cxnSpMkLst>
            <pc:docMk/>
            <pc:sldMk cId="2715908801" sldId="273"/>
            <ac:cxnSpMk id="24" creationId="{D3AE588B-64A3-4979-B414-892FA9168AB7}"/>
          </ac:cxnSpMkLst>
        </pc:cxnChg>
        <pc:cxnChg chg="mod topLvl">
          <ac:chgData name="Roussel, Gaetan" userId="269e9c6f-a5fe-49a6-9b6b-1c16ee3e16b1" providerId="ADAL" clId="{A43ED10B-C0D7-409E-AD3F-D6A5AE869F78}" dt="2022-06-28T18:28:23.590" v="9671" actId="164"/>
          <ac:cxnSpMkLst>
            <pc:docMk/>
            <pc:sldMk cId="2715908801" sldId="273"/>
            <ac:cxnSpMk id="27" creationId="{E93F9D59-7CB4-4E3F-BFCE-3C428E2B583C}"/>
          </ac:cxnSpMkLst>
        </pc:cxnChg>
        <pc:cxnChg chg="mod">
          <ac:chgData name="Roussel, Gaetan" userId="269e9c6f-a5fe-49a6-9b6b-1c16ee3e16b1" providerId="ADAL" clId="{A43ED10B-C0D7-409E-AD3F-D6A5AE869F78}" dt="2022-06-26T18:06:38.707" v="5687"/>
          <ac:cxnSpMkLst>
            <pc:docMk/>
            <pc:sldMk cId="2715908801" sldId="273"/>
            <ac:cxnSpMk id="32" creationId="{B740E340-B4C6-4F20-A280-91E4557C3E4F}"/>
          </ac:cxnSpMkLst>
        </pc:cxnChg>
        <pc:cxnChg chg="mod">
          <ac:chgData name="Roussel, Gaetan" userId="269e9c6f-a5fe-49a6-9b6b-1c16ee3e16b1" providerId="ADAL" clId="{A43ED10B-C0D7-409E-AD3F-D6A5AE869F78}" dt="2022-06-26T18:06:38.707" v="5687"/>
          <ac:cxnSpMkLst>
            <pc:docMk/>
            <pc:sldMk cId="2715908801" sldId="273"/>
            <ac:cxnSpMk id="35" creationId="{221B5065-007A-46F2-84B8-A91F0FACA33F}"/>
          </ac:cxnSpMkLst>
        </pc:cxnChg>
        <pc:cxnChg chg="mod topLvl">
          <ac:chgData name="Roussel, Gaetan" userId="269e9c6f-a5fe-49a6-9b6b-1c16ee3e16b1" providerId="ADAL" clId="{A43ED10B-C0D7-409E-AD3F-D6A5AE869F78}" dt="2022-06-28T18:28:19.396" v="9670" actId="164"/>
          <ac:cxnSpMkLst>
            <pc:docMk/>
            <pc:sldMk cId="2715908801" sldId="273"/>
            <ac:cxnSpMk id="39" creationId="{E1C1447C-3785-4060-8434-337D167780AA}"/>
          </ac:cxnSpMkLst>
        </pc:cxnChg>
        <pc:cxnChg chg="mod">
          <ac:chgData name="Roussel, Gaetan" userId="269e9c6f-a5fe-49a6-9b6b-1c16ee3e16b1" providerId="ADAL" clId="{A43ED10B-C0D7-409E-AD3F-D6A5AE869F78}" dt="2022-06-26T18:13:38.375" v="6096"/>
          <ac:cxnSpMkLst>
            <pc:docMk/>
            <pc:sldMk cId="2715908801" sldId="273"/>
            <ac:cxnSpMk id="52" creationId="{A98CDA3C-FEE6-489A-A48A-26CEB7AB1410}"/>
          </ac:cxnSpMkLst>
        </pc:cxnChg>
        <pc:cxnChg chg="mod topLvl">
          <ac:chgData name="Roussel, Gaetan" userId="269e9c6f-a5fe-49a6-9b6b-1c16ee3e16b1" providerId="ADAL" clId="{A43ED10B-C0D7-409E-AD3F-D6A5AE869F78}" dt="2022-06-26T18:14:29.236" v="6234" actId="164"/>
          <ac:cxnSpMkLst>
            <pc:docMk/>
            <pc:sldMk cId="2715908801" sldId="273"/>
            <ac:cxnSpMk id="56" creationId="{593D0CD1-0835-497B-9080-9D0B2233214C}"/>
          </ac:cxnSpMkLst>
        </pc:cxnChg>
      </pc:sldChg>
      <pc:sldChg chg="new del">
        <pc:chgData name="Roussel, Gaetan" userId="269e9c6f-a5fe-49a6-9b6b-1c16ee3e16b1" providerId="ADAL" clId="{A43ED10B-C0D7-409E-AD3F-D6A5AE869F78}" dt="2022-06-26T14:01:50.081" v="5617" actId="47"/>
        <pc:sldMkLst>
          <pc:docMk/>
          <pc:sldMk cId="2451921414" sldId="274"/>
        </pc:sldMkLst>
      </pc:sldChg>
      <pc:sldChg chg="addSp delSp modSp add mod ord modNotesTx">
        <pc:chgData name="Roussel, Gaetan" userId="269e9c6f-a5fe-49a6-9b6b-1c16ee3e16b1" providerId="ADAL" clId="{A43ED10B-C0D7-409E-AD3F-D6A5AE869F78}" dt="2022-06-30T08:53:31.237" v="11613" actId="20577"/>
        <pc:sldMkLst>
          <pc:docMk/>
          <pc:sldMk cId="3054144493" sldId="274"/>
        </pc:sldMkLst>
        <pc:spChg chg="add del mod">
          <ac:chgData name="Roussel, Gaetan" userId="269e9c6f-a5fe-49a6-9b6b-1c16ee3e16b1" providerId="ADAL" clId="{A43ED10B-C0D7-409E-AD3F-D6A5AE869F78}" dt="2022-06-27T07:34:42.407" v="6478" actId="478"/>
          <ac:spMkLst>
            <pc:docMk/>
            <pc:sldMk cId="3054144493" sldId="274"/>
            <ac:spMk id="4" creationId="{C05DD60D-E218-41DB-B7AE-6A6C273A700C}"/>
          </ac:spMkLst>
        </pc:spChg>
        <pc:spChg chg="add mod ord">
          <ac:chgData name="Roussel, Gaetan" userId="269e9c6f-a5fe-49a6-9b6b-1c16ee3e16b1" providerId="ADAL" clId="{A43ED10B-C0D7-409E-AD3F-D6A5AE869F78}" dt="2022-06-27T15:28:23.462" v="8435" actId="14100"/>
          <ac:spMkLst>
            <pc:docMk/>
            <pc:sldMk cId="3054144493" sldId="274"/>
            <ac:spMk id="6" creationId="{EA8AC746-BE26-48A5-8D3F-A5BAB9C14E74}"/>
          </ac:spMkLst>
        </pc:spChg>
        <pc:spChg chg="add mod">
          <ac:chgData name="Roussel, Gaetan" userId="269e9c6f-a5fe-49a6-9b6b-1c16ee3e16b1" providerId="ADAL" clId="{A43ED10B-C0D7-409E-AD3F-D6A5AE869F78}" dt="2022-06-27T18:13:06.737" v="8772" actId="1076"/>
          <ac:spMkLst>
            <pc:docMk/>
            <pc:sldMk cId="3054144493" sldId="274"/>
            <ac:spMk id="7" creationId="{27543DBE-53A0-479C-B33A-80DA08C2B35E}"/>
          </ac:spMkLst>
        </pc:spChg>
        <pc:spChg chg="add mod">
          <ac:chgData name="Roussel, Gaetan" userId="269e9c6f-a5fe-49a6-9b6b-1c16ee3e16b1" providerId="ADAL" clId="{A43ED10B-C0D7-409E-AD3F-D6A5AE869F78}" dt="2022-06-27T15:14:27.551" v="8290" actId="20577"/>
          <ac:spMkLst>
            <pc:docMk/>
            <pc:sldMk cId="3054144493" sldId="274"/>
            <ac:spMk id="20" creationId="{3A44FF5F-6C7B-4F1F-8FC0-8D5FC8E7538B}"/>
          </ac:spMkLst>
        </pc:spChg>
        <pc:spChg chg="add del mod">
          <ac:chgData name="Roussel, Gaetan" userId="269e9c6f-a5fe-49a6-9b6b-1c16ee3e16b1" providerId="ADAL" clId="{A43ED10B-C0D7-409E-AD3F-D6A5AE869F78}" dt="2022-06-27T07:35:46.615" v="6567" actId="478"/>
          <ac:spMkLst>
            <pc:docMk/>
            <pc:sldMk cId="3054144493" sldId="274"/>
            <ac:spMk id="21" creationId="{6141E36F-1579-4233-90AD-3D91EF035F3B}"/>
          </ac:spMkLst>
        </pc:spChg>
        <pc:spChg chg="add del mod">
          <ac:chgData name="Roussel, Gaetan" userId="269e9c6f-a5fe-49a6-9b6b-1c16ee3e16b1" providerId="ADAL" clId="{A43ED10B-C0D7-409E-AD3F-D6A5AE869F78}" dt="2022-06-27T07:35:51.031" v="6569" actId="478"/>
          <ac:spMkLst>
            <pc:docMk/>
            <pc:sldMk cId="3054144493" sldId="274"/>
            <ac:spMk id="22" creationId="{D9BDC0B0-03B7-4B70-A5E5-126140C02CCE}"/>
          </ac:spMkLst>
        </pc:spChg>
        <pc:spChg chg="add mod">
          <ac:chgData name="Roussel, Gaetan" userId="269e9c6f-a5fe-49a6-9b6b-1c16ee3e16b1" providerId="ADAL" clId="{A43ED10B-C0D7-409E-AD3F-D6A5AE869F78}" dt="2022-06-27T08:31:12.692" v="6669" actId="12789"/>
          <ac:spMkLst>
            <pc:docMk/>
            <pc:sldMk cId="3054144493" sldId="274"/>
            <ac:spMk id="23" creationId="{8EDA0F4A-8B1B-4B3E-87BD-2C6C0E22C2E5}"/>
          </ac:spMkLst>
        </pc:spChg>
        <pc:spChg chg="add mod">
          <ac:chgData name="Roussel, Gaetan" userId="269e9c6f-a5fe-49a6-9b6b-1c16ee3e16b1" providerId="ADAL" clId="{A43ED10B-C0D7-409E-AD3F-D6A5AE869F78}" dt="2022-06-30T08:53:31.237" v="11613" actId="20577"/>
          <ac:spMkLst>
            <pc:docMk/>
            <pc:sldMk cId="3054144493" sldId="274"/>
            <ac:spMk id="27" creationId="{23F0A9BD-844B-4CE1-AA1E-7B7D92AE5CD7}"/>
          </ac:spMkLst>
        </pc:spChg>
        <pc:spChg chg="add mod ord">
          <ac:chgData name="Roussel, Gaetan" userId="269e9c6f-a5fe-49a6-9b6b-1c16ee3e16b1" providerId="ADAL" clId="{A43ED10B-C0D7-409E-AD3F-D6A5AE869F78}" dt="2022-06-27T18:10:43.782" v="8612" actId="14100"/>
          <ac:spMkLst>
            <pc:docMk/>
            <pc:sldMk cId="3054144493" sldId="274"/>
            <ac:spMk id="29" creationId="{0393AEB5-2316-4A19-944A-42F98851B7F0}"/>
          </ac:spMkLst>
        </pc:spChg>
        <pc:spChg chg="del">
          <ac:chgData name="Roussel, Gaetan" userId="269e9c6f-a5fe-49a6-9b6b-1c16ee3e16b1" providerId="ADAL" clId="{A43ED10B-C0D7-409E-AD3F-D6A5AE869F78}" dt="2022-06-26T14:01:59.124" v="5619" actId="478"/>
          <ac:spMkLst>
            <pc:docMk/>
            <pc:sldMk cId="3054144493" sldId="274"/>
            <ac:spMk id="68" creationId="{C3039A1E-742D-494D-9BE8-DC656BDECABE}"/>
          </ac:spMkLst>
        </pc:spChg>
        <pc:spChg chg="del">
          <ac:chgData name="Roussel, Gaetan" userId="269e9c6f-a5fe-49a6-9b6b-1c16ee3e16b1" providerId="ADAL" clId="{A43ED10B-C0D7-409E-AD3F-D6A5AE869F78}" dt="2022-06-26T14:01:59.124" v="5619" actId="478"/>
          <ac:spMkLst>
            <pc:docMk/>
            <pc:sldMk cId="3054144493" sldId="274"/>
            <ac:spMk id="71" creationId="{2695C169-BF93-4A97-8818-3129260124D6}"/>
          </ac:spMkLst>
        </pc:spChg>
        <pc:spChg chg="del">
          <ac:chgData name="Roussel, Gaetan" userId="269e9c6f-a5fe-49a6-9b6b-1c16ee3e16b1" providerId="ADAL" clId="{A43ED10B-C0D7-409E-AD3F-D6A5AE869F78}" dt="2022-06-26T14:01:59.124" v="5619" actId="478"/>
          <ac:spMkLst>
            <pc:docMk/>
            <pc:sldMk cId="3054144493" sldId="274"/>
            <ac:spMk id="73" creationId="{019AADC3-44E0-4762-BB75-17F3FF065123}"/>
          </ac:spMkLst>
        </pc:spChg>
        <pc:spChg chg="del">
          <ac:chgData name="Roussel, Gaetan" userId="269e9c6f-a5fe-49a6-9b6b-1c16ee3e16b1" providerId="ADAL" clId="{A43ED10B-C0D7-409E-AD3F-D6A5AE869F78}" dt="2022-06-26T14:01:59.124" v="5619" actId="478"/>
          <ac:spMkLst>
            <pc:docMk/>
            <pc:sldMk cId="3054144493" sldId="274"/>
            <ac:spMk id="74" creationId="{AA1BE406-60E7-49EE-872E-824CB53B3A4C}"/>
          </ac:spMkLst>
        </pc:spChg>
        <pc:spChg chg="del">
          <ac:chgData name="Roussel, Gaetan" userId="269e9c6f-a5fe-49a6-9b6b-1c16ee3e16b1" providerId="ADAL" clId="{A43ED10B-C0D7-409E-AD3F-D6A5AE869F78}" dt="2022-06-26T14:01:59.124" v="5619" actId="478"/>
          <ac:spMkLst>
            <pc:docMk/>
            <pc:sldMk cId="3054144493" sldId="274"/>
            <ac:spMk id="76" creationId="{F5E913D4-4B61-45ED-ABB3-B837F4B89B59}"/>
          </ac:spMkLst>
        </pc:spChg>
        <pc:spChg chg="del">
          <ac:chgData name="Roussel, Gaetan" userId="269e9c6f-a5fe-49a6-9b6b-1c16ee3e16b1" providerId="ADAL" clId="{A43ED10B-C0D7-409E-AD3F-D6A5AE869F78}" dt="2022-06-26T14:01:59.124" v="5619" actId="478"/>
          <ac:spMkLst>
            <pc:docMk/>
            <pc:sldMk cId="3054144493" sldId="274"/>
            <ac:spMk id="77" creationId="{74F9E184-705C-4C36-B13D-95D628191772}"/>
          </ac:spMkLst>
        </pc:spChg>
        <pc:spChg chg="del">
          <ac:chgData name="Roussel, Gaetan" userId="269e9c6f-a5fe-49a6-9b6b-1c16ee3e16b1" providerId="ADAL" clId="{A43ED10B-C0D7-409E-AD3F-D6A5AE869F78}" dt="2022-06-26T14:01:59.124" v="5619" actId="478"/>
          <ac:spMkLst>
            <pc:docMk/>
            <pc:sldMk cId="3054144493" sldId="274"/>
            <ac:spMk id="79" creationId="{D7B5BCE6-B631-4E40-B5A5-4FA07B45BF9A}"/>
          </ac:spMkLst>
        </pc:spChg>
        <pc:spChg chg="del">
          <ac:chgData name="Roussel, Gaetan" userId="269e9c6f-a5fe-49a6-9b6b-1c16ee3e16b1" providerId="ADAL" clId="{A43ED10B-C0D7-409E-AD3F-D6A5AE869F78}" dt="2022-06-26T14:01:59.124" v="5619" actId="478"/>
          <ac:spMkLst>
            <pc:docMk/>
            <pc:sldMk cId="3054144493" sldId="274"/>
            <ac:spMk id="91" creationId="{253CC08F-35AF-4A99-AC7E-157B0D6F041D}"/>
          </ac:spMkLst>
        </pc:spChg>
        <pc:spChg chg="mod">
          <ac:chgData name="Roussel, Gaetan" userId="269e9c6f-a5fe-49a6-9b6b-1c16ee3e16b1" providerId="ADAL" clId="{A43ED10B-C0D7-409E-AD3F-D6A5AE869F78}" dt="2022-06-28T18:26:26.439" v="9641" actId="403"/>
          <ac:spMkLst>
            <pc:docMk/>
            <pc:sldMk cId="3054144493" sldId="274"/>
            <ac:spMk id="92" creationId="{F1F085BE-52B1-4AA9-86B6-BB3BECBE6F57}"/>
          </ac:spMkLst>
        </pc:spChg>
        <pc:spChg chg="mod topLvl">
          <ac:chgData name="Roussel, Gaetan" userId="269e9c6f-a5fe-49a6-9b6b-1c16ee3e16b1" providerId="ADAL" clId="{A43ED10B-C0D7-409E-AD3F-D6A5AE869F78}" dt="2022-06-30T08:16:30.167" v="11202" actId="165"/>
          <ac:spMkLst>
            <pc:docMk/>
            <pc:sldMk cId="3054144493" sldId="274"/>
            <ac:spMk id="98" creationId="{4F0F1582-8946-44ED-8134-29B3FECCC4C6}"/>
          </ac:spMkLst>
        </pc:spChg>
        <pc:spChg chg="del">
          <ac:chgData name="Roussel, Gaetan" userId="269e9c6f-a5fe-49a6-9b6b-1c16ee3e16b1" providerId="ADAL" clId="{A43ED10B-C0D7-409E-AD3F-D6A5AE869F78}" dt="2022-06-26T14:01:59.124" v="5619" actId="478"/>
          <ac:spMkLst>
            <pc:docMk/>
            <pc:sldMk cId="3054144493" sldId="274"/>
            <ac:spMk id="101" creationId="{940BC556-0250-4B33-97B6-0C3D73A25000}"/>
          </ac:spMkLst>
        </pc:spChg>
        <pc:spChg chg="del">
          <ac:chgData name="Roussel, Gaetan" userId="269e9c6f-a5fe-49a6-9b6b-1c16ee3e16b1" providerId="ADAL" clId="{A43ED10B-C0D7-409E-AD3F-D6A5AE869F78}" dt="2022-06-27T13:13:29.088" v="7347" actId="478"/>
          <ac:spMkLst>
            <pc:docMk/>
            <pc:sldMk cId="3054144493" sldId="274"/>
            <ac:spMk id="102" creationId="{AC22AC1C-836C-4835-8A7B-FDCCF4395CA2}"/>
          </ac:spMkLst>
        </pc:spChg>
        <pc:grpChg chg="del">
          <ac:chgData name="Roussel, Gaetan" userId="269e9c6f-a5fe-49a6-9b6b-1c16ee3e16b1" providerId="ADAL" clId="{A43ED10B-C0D7-409E-AD3F-D6A5AE869F78}" dt="2022-06-30T08:16:30.167" v="11202" actId="165"/>
          <ac:grpSpMkLst>
            <pc:docMk/>
            <pc:sldMk cId="3054144493" sldId="274"/>
            <ac:grpSpMk id="97" creationId="{8DF23055-AA2C-4A4A-8C91-F490CEC19C0F}"/>
          </ac:grpSpMkLst>
        </pc:grpChg>
        <pc:graphicFrameChg chg="add del mod modGraphic">
          <ac:chgData name="Roussel, Gaetan" userId="269e9c6f-a5fe-49a6-9b6b-1c16ee3e16b1" providerId="ADAL" clId="{A43ED10B-C0D7-409E-AD3F-D6A5AE869F78}" dt="2022-06-27T07:48:46.844" v="6636" actId="478"/>
          <ac:graphicFrameMkLst>
            <pc:docMk/>
            <pc:sldMk cId="3054144493" sldId="274"/>
            <ac:graphicFrameMk id="5" creationId="{FCCAE16C-B57D-4E73-8F28-C9AF35E192D6}"/>
          </ac:graphicFrameMkLst>
        </pc:graphicFrameChg>
        <pc:picChg chg="add mod">
          <ac:chgData name="Roussel, Gaetan" userId="269e9c6f-a5fe-49a6-9b6b-1c16ee3e16b1" providerId="ADAL" clId="{A43ED10B-C0D7-409E-AD3F-D6A5AE869F78}" dt="2022-06-30T08:16:33.080" v="11204"/>
          <ac:picMkLst>
            <pc:docMk/>
            <pc:sldMk cId="3054144493" sldId="274"/>
            <ac:picMk id="16" creationId="{54024791-8A32-477B-874D-3817071858AE}"/>
          </ac:picMkLst>
        </pc:picChg>
        <pc:picChg chg="add mod ord">
          <ac:chgData name="Roussel, Gaetan" userId="269e9c6f-a5fe-49a6-9b6b-1c16ee3e16b1" providerId="ADAL" clId="{A43ED10B-C0D7-409E-AD3F-D6A5AE869F78}" dt="2022-06-27T18:10:46.198" v="8613" actId="1076"/>
          <ac:picMkLst>
            <pc:docMk/>
            <pc:sldMk cId="3054144493" sldId="274"/>
            <ac:picMk id="24" creationId="{BB3B62EF-1A04-4F2D-B052-3346042D41B9}"/>
          </ac:picMkLst>
        </pc:picChg>
        <pc:picChg chg="add mod">
          <ac:chgData name="Roussel, Gaetan" userId="269e9c6f-a5fe-49a6-9b6b-1c16ee3e16b1" providerId="ADAL" clId="{A43ED10B-C0D7-409E-AD3F-D6A5AE869F78}" dt="2022-06-27T15:19:25.285" v="8297" actId="12789"/>
          <ac:picMkLst>
            <pc:docMk/>
            <pc:sldMk cId="3054144493" sldId="274"/>
            <ac:picMk id="25" creationId="{6E02275F-0028-44DF-96AD-2F758554A537}"/>
          </ac:picMkLst>
        </pc:picChg>
        <pc:picChg chg="del mod topLvl">
          <ac:chgData name="Roussel, Gaetan" userId="269e9c6f-a5fe-49a6-9b6b-1c16ee3e16b1" providerId="ADAL" clId="{A43ED10B-C0D7-409E-AD3F-D6A5AE869F78}" dt="2022-06-30T08:16:32.689" v="11203" actId="478"/>
          <ac:picMkLst>
            <pc:docMk/>
            <pc:sldMk cId="3054144493" sldId="274"/>
            <ac:picMk id="99" creationId="{1DCB8374-FBA4-43DD-A930-487C81F004C5}"/>
          </ac:picMkLst>
        </pc:picChg>
        <pc:picChg chg="mod topLvl">
          <ac:chgData name="Roussel, Gaetan" userId="269e9c6f-a5fe-49a6-9b6b-1c16ee3e16b1" providerId="ADAL" clId="{A43ED10B-C0D7-409E-AD3F-D6A5AE869F78}" dt="2022-06-30T08:16:30.167" v="11202" actId="165"/>
          <ac:picMkLst>
            <pc:docMk/>
            <pc:sldMk cId="3054144493" sldId="274"/>
            <ac:picMk id="100" creationId="{22F1DF83-0F27-4E67-91A7-E07AE9401477}"/>
          </ac:picMkLst>
        </pc:picChg>
        <pc:cxnChg chg="add mod">
          <ac:chgData name="Roussel, Gaetan" userId="269e9c6f-a5fe-49a6-9b6b-1c16ee3e16b1" providerId="ADAL" clId="{A43ED10B-C0D7-409E-AD3F-D6A5AE869F78}" dt="2022-06-27T07:36:16.741" v="6607" actId="1036"/>
          <ac:cxnSpMkLst>
            <pc:docMk/>
            <pc:sldMk cId="3054144493" sldId="274"/>
            <ac:cxnSpMk id="3" creationId="{16B480D2-06E0-4218-97E3-5121B4866AA8}"/>
          </ac:cxnSpMkLst>
        </pc:cxnChg>
      </pc:sldChg>
      <pc:sldChg chg="addSp delSp modSp add mod">
        <pc:chgData name="Roussel, Gaetan" userId="269e9c6f-a5fe-49a6-9b6b-1c16ee3e16b1" providerId="ADAL" clId="{A43ED10B-C0D7-409E-AD3F-D6A5AE869F78}" dt="2022-06-30T08:53:46.394" v="11631"/>
        <pc:sldMkLst>
          <pc:docMk/>
          <pc:sldMk cId="1055779880" sldId="275"/>
        </pc:sldMkLst>
        <pc:spChg chg="add mod">
          <ac:chgData name="Roussel, Gaetan" userId="269e9c6f-a5fe-49a6-9b6b-1c16ee3e16b1" providerId="ADAL" clId="{A43ED10B-C0D7-409E-AD3F-D6A5AE869F78}" dt="2022-06-28T18:35:28.390" v="9752" actId="14100"/>
          <ac:spMkLst>
            <pc:docMk/>
            <pc:sldMk cId="1055779880" sldId="275"/>
            <ac:spMk id="2" creationId="{93B0F9E0-48E1-4F4A-A647-974A687B47A8}"/>
          </ac:spMkLst>
        </pc:spChg>
        <pc:spChg chg="add mod">
          <ac:chgData name="Roussel, Gaetan" userId="269e9c6f-a5fe-49a6-9b6b-1c16ee3e16b1" providerId="ADAL" clId="{A43ED10B-C0D7-409E-AD3F-D6A5AE869F78}" dt="2022-06-27T15:56:31.955" v="8500" actId="1038"/>
          <ac:spMkLst>
            <pc:docMk/>
            <pc:sldMk cId="1055779880" sldId="275"/>
            <ac:spMk id="3" creationId="{4A91B45C-9EBE-4F61-BE14-E00F2B2AFA33}"/>
          </ac:spMkLst>
        </pc:spChg>
        <pc:spChg chg="add mod">
          <ac:chgData name="Roussel, Gaetan" userId="269e9c6f-a5fe-49a6-9b6b-1c16ee3e16b1" providerId="ADAL" clId="{A43ED10B-C0D7-409E-AD3F-D6A5AE869F78}" dt="2022-06-29T19:46:08.202" v="11119" actId="12788"/>
          <ac:spMkLst>
            <pc:docMk/>
            <pc:sldMk cId="1055779880" sldId="275"/>
            <ac:spMk id="4" creationId="{60D262E4-3AFD-4B83-8905-A248ECB0B2A2}"/>
          </ac:spMkLst>
        </pc:spChg>
        <pc:spChg chg="add mod">
          <ac:chgData name="Roussel, Gaetan" userId="269e9c6f-a5fe-49a6-9b6b-1c16ee3e16b1" providerId="ADAL" clId="{A43ED10B-C0D7-409E-AD3F-D6A5AE869F78}" dt="2022-06-27T16:03:08.827" v="8521" actId="14100"/>
          <ac:spMkLst>
            <pc:docMk/>
            <pc:sldMk cId="1055779880" sldId="275"/>
            <ac:spMk id="15" creationId="{24C0F333-CDBD-4FCA-8847-FB4FCE5B06EE}"/>
          </ac:spMkLst>
        </pc:spChg>
        <pc:spChg chg="add mod">
          <ac:chgData name="Roussel, Gaetan" userId="269e9c6f-a5fe-49a6-9b6b-1c16ee3e16b1" providerId="ADAL" clId="{A43ED10B-C0D7-409E-AD3F-D6A5AE869F78}" dt="2022-06-28T20:31:57.759" v="11036" actId="1035"/>
          <ac:spMkLst>
            <pc:docMk/>
            <pc:sldMk cId="1055779880" sldId="275"/>
            <ac:spMk id="20" creationId="{326B4BCF-B1C0-4F18-AE29-34E7AFABE9DF}"/>
          </ac:spMkLst>
        </pc:spChg>
        <pc:spChg chg="add mod">
          <ac:chgData name="Roussel, Gaetan" userId="269e9c6f-a5fe-49a6-9b6b-1c16ee3e16b1" providerId="ADAL" clId="{A43ED10B-C0D7-409E-AD3F-D6A5AE869F78}" dt="2022-06-28T20:31:57.759" v="11036" actId="1035"/>
          <ac:spMkLst>
            <pc:docMk/>
            <pc:sldMk cId="1055779880" sldId="275"/>
            <ac:spMk id="21" creationId="{23404258-688D-4A91-985C-8E0E2AC88927}"/>
          </ac:spMkLst>
        </pc:spChg>
        <pc:spChg chg="add mod">
          <ac:chgData name="Roussel, Gaetan" userId="269e9c6f-a5fe-49a6-9b6b-1c16ee3e16b1" providerId="ADAL" clId="{A43ED10B-C0D7-409E-AD3F-D6A5AE869F78}" dt="2022-06-29T19:46:11.913" v="11120" actId="12788"/>
          <ac:spMkLst>
            <pc:docMk/>
            <pc:sldMk cId="1055779880" sldId="275"/>
            <ac:spMk id="22" creationId="{B2E32E9F-2FBE-4FD0-BA92-9AD005B0BEB0}"/>
          </ac:spMkLst>
        </pc:spChg>
        <pc:spChg chg="add mod">
          <ac:chgData name="Roussel, Gaetan" userId="269e9c6f-a5fe-49a6-9b6b-1c16ee3e16b1" providerId="ADAL" clId="{A43ED10B-C0D7-409E-AD3F-D6A5AE869F78}" dt="2022-06-27T15:56:07.399" v="8477" actId="1038"/>
          <ac:spMkLst>
            <pc:docMk/>
            <pc:sldMk cId="1055779880" sldId="275"/>
            <ac:spMk id="27" creationId="{2427E5D6-A14E-46C7-A654-224C727277E9}"/>
          </ac:spMkLst>
        </pc:spChg>
        <pc:spChg chg="add mod topLvl">
          <ac:chgData name="Roussel, Gaetan" userId="269e9c6f-a5fe-49a6-9b6b-1c16ee3e16b1" providerId="ADAL" clId="{A43ED10B-C0D7-409E-AD3F-D6A5AE869F78}" dt="2022-06-29T19:47:32.095" v="11167" actId="12788"/>
          <ac:spMkLst>
            <pc:docMk/>
            <pc:sldMk cId="1055779880" sldId="275"/>
            <ac:spMk id="28" creationId="{EA058783-AEDF-4654-887D-A3C2E70A77B9}"/>
          </ac:spMkLst>
        </pc:spChg>
        <pc:spChg chg="add mod topLvl">
          <ac:chgData name="Roussel, Gaetan" userId="269e9c6f-a5fe-49a6-9b6b-1c16ee3e16b1" providerId="ADAL" clId="{A43ED10B-C0D7-409E-AD3F-D6A5AE869F78}" dt="2022-06-29T19:47:36.376" v="11168" actId="12788"/>
          <ac:spMkLst>
            <pc:docMk/>
            <pc:sldMk cId="1055779880" sldId="275"/>
            <ac:spMk id="29" creationId="{4928828E-CB53-46AB-9661-B3F630CF1337}"/>
          </ac:spMkLst>
        </pc:spChg>
        <pc:spChg chg="add mod">
          <ac:chgData name="Roussel, Gaetan" userId="269e9c6f-a5fe-49a6-9b6b-1c16ee3e16b1" providerId="ADAL" clId="{A43ED10B-C0D7-409E-AD3F-D6A5AE869F78}" dt="2022-06-30T08:53:46.394" v="11631"/>
          <ac:spMkLst>
            <pc:docMk/>
            <pc:sldMk cId="1055779880" sldId="275"/>
            <ac:spMk id="34" creationId="{263DBE61-067C-4313-A90F-0C5BC1374E7F}"/>
          </ac:spMkLst>
        </pc:spChg>
        <pc:spChg chg="add mod">
          <ac:chgData name="Roussel, Gaetan" userId="269e9c6f-a5fe-49a6-9b6b-1c16ee3e16b1" providerId="ADAL" clId="{A43ED10B-C0D7-409E-AD3F-D6A5AE869F78}" dt="2022-06-27T15:56:23.714" v="8487" actId="20577"/>
          <ac:spMkLst>
            <pc:docMk/>
            <pc:sldMk cId="1055779880" sldId="275"/>
            <ac:spMk id="35" creationId="{62495127-5424-4DB6-BD28-538F33F66B6E}"/>
          </ac:spMkLst>
        </pc:spChg>
        <pc:spChg chg="add mod">
          <ac:chgData name="Roussel, Gaetan" userId="269e9c6f-a5fe-49a6-9b6b-1c16ee3e16b1" providerId="ADAL" clId="{A43ED10B-C0D7-409E-AD3F-D6A5AE869F78}" dt="2022-06-27T15:57:03.769" v="8515" actId="208"/>
          <ac:spMkLst>
            <pc:docMk/>
            <pc:sldMk cId="1055779880" sldId="275"/>
            <ac:spMk id="36" creationId="{C209E0A3-25DB-441E-8704-6978353FFB95}"/>
          </ac:spMkLst>
        </pc:spChg>
        <pc:spChg chg="add mod topLvl">
          <ac:chgData name="Roussel, Gaetan" userId="269e9c6f-a5fe-49a6-9b6b-1c16ee3e16b1" providerId="ADAL" clId="{A43ED10B-C0D7-409E-AD3F-D6A5AE869F78}" dt="2022-06-29T19:47:08.515" v="11133" actId="12788"/>
          <ac:spMkLst>
            <pc:docMk/>
            <pc:sldMk cId="1055779880" sldId="275"/>
            <ac:spMk id="40" creationId="{A96E3EA7-9FAB-41E0-BA3F-2F729AF395F7}"/>
          </ac:spMkLst>
        </pc:spChg>
        <pc:spChg chg="add mod">
          <ac:chgData name="Roussel, Gaetan" userId="269e9c6f-a5fe-49a6-9b6b-1c16ee3e16b1" providerId="ADAL" clId="{A43ED10B-C0D7-409E-AD3F-D6A5AE869F78}" dt="2022-06-29T19:47:24.776" v="11152" actId="12788"/>
          <ac:spMkLst>
            <pc:docMk/>
            <pc:sldMk cId="1055779880" sldId="275"/>
            <ac:spMk id="43" creationId="{64703A3C-8949-4F8B-86D0-0A1EA91CE4C2}"/>
          </ac:spMkLst>
        </pc:spChg>
        <pc:spChg chg="mod">
          <ac:chgData name="Roussel, Gaetan" userId="269e9c6f-a5fe-49a6-9b6b-1c16ee3e16b1" providerId="ADAL" clId="{A43ED10B-C0D7-409E-AD3F-D6A5AE869F78}" dt="2022-06-28T18:26:59.742" v="9658" actId="403"/>
          <ac:spMkLst>
            <pc:docMk/>
            <pc:sldMk cId="1055779880" sldId="275"/>
            <ac:spMk id="92" creationId="{F1F085BE-52B1-4AA9-86B6-BB3BECBE6F57}"/>
          </ac:spMkLst>
        </pc:spChg>
        <pc:spChg chg="mod topLvl">
          <ac:chgData name="Roussel, Gaetan" userId="269e9c6f-a5fe-49a6-9b6b-1c16ee3e16b1" providerId="ADAL" clId="{A43ED10B-C0D7-409E-AD3F-D6A5AE869F78}" dt="2022-06-30T08:16:43.711" v="11208" actId="165"/>
          <ac:spMkLst>
            <pc:docMk/>
            <pc:sldMk cId="1055779880" sldId="275"/>
            <ac:spMk id="98" creationId="{4F0F1582-8946-44ED-8134-29B3FECCC4C6}"/>
          </ac:spMkLst>
        </pc:spChg>
        <pc:spChg chg="del">
          <ac:chgData name="Roussel, Gaetan" userId="269e9c6f-a5fe-49a6-9b6b-1c16ee3e16b1" providerId="ADAL" clId="{A43ED10B-C0D7-409E-AD3F-D6A5AE869F78}" dt="2022-06-27T13:13:43.120" v="7351" actId="478"/>
          <ac:spMkLst>
            <pc:docMk/>
            <pc:sldMk cId="1055779880" sldId="275"/>
            <ac:spMk id="102" creationId="{AC22AC1C-836C-4835-8A7B-FDCCF4395CA2}"/>
          </ac:spMkLst>
        </pc:spChg>
        <pc:grpChg chg="add mod">
          <ac:chgData name="Roussel, Gaetan" userId="269e9c6f-a5fe-49a6-9b6b-1c16ee3e16b1" providerId="ADAL" clId="{A43ED10B-C0D7-409E-AD3F-D6A5AE869F78}" dt="2022-06-29T19:46:08.202" v="11119" actId="12788"/>
          <ac:grpSpMkLst>
            <pc:docMk/>
            <pc:sldMk cId="1055779880" sldId="275"/>
            <ac:grpSpMk id="5" creationId="{E0BC5781-B020-4662-A674-BACB3D44A7C4}"/>
          </ac:grpSpMkLst>
        </pc:grpChg>
        <pc:grpChg chg="add mod">
          <ac:chgData name="Roussel, Gaetan" userId="269e9c6f-a5fe-49a6-9b6b-1c16ee3e16b1" providerId="ADAL" clId="{A43ED10B-C0D7-409E-AD3F-D6A5AE869F78}" dt="2022-06-28T20:31:57.759" v="11036" actId="1035"/>
          <ac:grpSpMkLst>
            <pc:docMk/>
            <pc:sldMk cId="1055779880" sldId="275"/>
            <ac:grpSpMk id="6" creationId="{0509CAFF-9721-4032-8586-32B77A2C3E8E}"/>
          </ac:grpSpMkLst>
        </pc:grpChg>
        <pc:grpChg chg="add mod">
          <ac:chgData name="Roussel, Gaetan" userId="269e9c6f-a5fe-49a6-9b6b-1c16ee3e16b1" providerId="ADAL" clId="{A43ED10B-C0D7-409E-AD3F-D6A5AE869F78}" dt="2022-06-28T20:31:57.759" v="11036" actId="1035"/>
          <ac:grpSpMkLst>
            <pc:docMk/>
            <pc:sldMk cId="1055779880" sldId="275"/>
            <ac:grpSpMk id="7" creationId="{E6E447E8-A9AE-4623-930D-121CA1A547E5}"/>
          </ac:grpSpMkLst>
        </pc:grpChg>
        <pc:grpChg chg="add mod">
          <ac:chgData name="Roussel, Gaetan" userId="269e9c6f-a5fe-49a6-9b6b-1c16ee3e16b1" providerId="ADAL" clId="{A43ED10B-C0D7-409E-AD3F-D6A5AE869F78}" dt="2022-06-29T19:46:11.913" v="11120" actId="12788"/>
          <ac:grpSpMkLst>
            <pc:docMk/>
            <pc:sldMk cId="1055779880" sldId="275"/>
            <ac:grpSpMk id="8" creationId="{8D129BD8-D1BC-48CC-A5D2-541555A385FB}"/>
          </ac:grpSpMkLst>
        </pc:grpChg>
        <pc:grpChg chg="add del mod">
          <ac:chgData name="Roussel, Gaetan" userId="269e9c6f-a5fe-49a6-9b6b-1c16ee3e16b1" providerId="ADAL" clId="{A43ED10B-C0D7-409E-AD3F-D6A5AE869F78}" dt="2022-06-27T16:03:13.529" v="8524" actId="478"/>
          <ac:grpSpMkLst>
            <pc:docMk/>
            <pc:sldMk cId="1055779880" sldId="275"/>
            <ac:grpSpMk id="9" creationId="{5D848BDC-FD13-423B-9AEF-85B15C3989F6}"/>
          </ac:grpSpMkLst>
        </pc:grpChg>
        <pc:grpChg chg="add mod">
          <ac:chgData name="Roussel, Gaetan" userId="269e9c6f-a5fe-49a6-9b6b-1c16ee3e16b1" providerId="ADAL" clId="{A43ED10B-C0D7-409E-AD3F-D6A5AE869F78}" dt="2022-06-27T10:00:28.801" v="6954" actId="164"/>
          <ac:grpSpMkLst>
            <pc:docMk/>
            <pc:sldMk cId="1055779880" sldId="275"/>
            <ac:grpSpMk id="10" creationId="{A8B85526-877D-4487-A9CC-4CF79A4CEC72}"/>
          </ac:grpSpMkLst>
        </pc:grpChg>
        <pc:grpChg chg="add del mod">
          <ac:chgData name="Roussel, Gaetan" userId="269e9c6f-a5fe-49a6-9b6b-1c16ee3e16b1" providerId="ADAL" clId="{A43ED10B-C0D7-409E-AD3F-D6A5AE869F78}" dt="2022-06-27T16:03:29.485" v="8528" actId="165"/>
          <ac:grpSpMkLst>
            <pc:docMk/>
            <pc:sldMk cId="1055779880" sldId="275"/>
            <ac:grpSpMk id="11" creationId="{AB218E7E-0C45-46AB-BE44-112BFB20FCF2}"/>
          </ac:grpSpMkLst>
        </pc:grpChg>
        <pc:grpChg chg="add del mod">
          <ac:chgData name="Roussel, Gaetan" userId="269e9c6f-a5fe-49a6-9b6b-1c16ee3e16b1" providerId="ADAL" clId="{A43ED10B-C0D7-409E-AD3F-D6A5AE869F78}" dt="2022-06-29T19:46:46.129" v="11125" actId="165"/>
          <ac:grpSpMkLst>
            <pc:docMk/>
            <pc:sldMk cId="1055779880" sldId="275"/>
            <ac:grpSpMk id="12" creationId="{32765A91-0ECB-4C84-B108-1A18FC083E6F}"/>
          </ac:grpSpMkLst>
        </pc:grpChg>
        <pc:grpChg chg="add del mod">
          <ac:chgData name="Roussel, Gaetan" userId="269e9c6f-a5fe-49a6-9b6b-1c16ee3e16b1" providerId="ADAL" clId="{A43ED10B-C0D7-409E-AD3F-D6A5AE869F78}" dt="2022-06-27T16:03:44.944" v="8532" actId="165"/>
          <ac:grpSpMkLst>
            <pc:docMk/>
            <pc:sldMk cId="1055779880" sldId="275"/>
            <ac:grpSpMk id="13" creationId="{16933B3A-85F7-414A-B251-5D91B8683057}"/>
          </ac:grpSpMkLst>
        </pc:grpChg>
        <pc:grpChg chg="add del mod">
          <ac:chgData name="Roussel, Gaetan" userId="269e9c6f-a5fe-49a6-9b6b-1c16ee3e16b1" providerId="ADAL" clId="{A43ED10B-C0D7-409E-AD3F-D6A5AE869F78}" dt="2022-06-29T19:46:46.129" v="11125" actId="165"/>
          <ac:grpSpMkLst>
            <pc:docMk/>
            <pc:sldMk cId="1055779880" sldId="275"/>
            <ac:grpSpMk id="14" creationId="{3F24584C-698E-469E-89A6-86CA078EA150}"/>
          </ac:grpSpMkLst>
        </pc:grpChg>
        <pc:grpChg chg="del">
          <ac:chgData name="Roussel, Gaetan" userId="269e9c6f-a5fe-49a6-9b6b-1c16ee3e16b1" providerId="ADAL" clId="{A43ED10B-C0D7-409E-AD3F-D6A5AE869F78}" dt="2022-06-30T08:16:43.711" v="11208" actId="165"/>
          <ac:grpSpMkLst>
            <pc:docMk/>
            <pc:sldMk cId="1055779880" sldId="275"/>
            <ac:grpSpMk id="97" creationId="{8DF23055-AA2C-4A4A-8C91-F490CEC19C0F}"/>
          </ac:grpSpMkLst>
        </pc:grpChg>
        <pc:picChg chg="add mod">
          <ac:chgData name="Roussel, Gaetan" userId="269e9c6f-a5fe-49a6-9b6b-1c16ee3e16b1" providerId="ADAL" clId="{A43ED10B-C0D7-409E-AD3F-D6A5AE869F78}" dt="2022-06-30T08:16:45.761" v="11210"/>
          <ac:picMkLst>
            <pc:docMk/>
            <pc:sldMk cId="1055779880" sldId="275"/>
            <ac:picMk id="33" creationId="{EF43F825-4CDD-44D5-9749-57B8C8C9EF6C}"/>
          </ac:picMkLst>
        </pc:picChg>
        <pc:picChg chg="del mod topLvl">
          <ac:chgData name="Roussel, Gaetan" userId="269e9c6f-a5fe-49a6-9b6b-1c16ee3e16b1" providerId="ADAL" clId="{A43ED10B-C0D7-409E-AD3F-D6A5AE869F78}" dt="2022-06-30T08:16:45.426" v="11209" actId="478"/>
          <ac:picMkLst>
            <pc:docMk/>
            <pc:sldMk cId="1055779880" sldId="275"/>
            <ac:picMk id="99" creationId="{1DCB8374-FBA4-43DD-A930-487C81F004C5}"/>
          </ac:picMkLst>
        </pc:picChg>
        <pc:picChg chg="mod topLvl">
          <ac:chgData name="Roussel, Gaetan" userId="269e9c6f-a5fe-49a6-9b6b-1c16ee3e16b1" providerId="ADAL" clId="{A43ED10B-C0D7-409E-AD3F-D6A5AE869F78}" dt="2022-06-30T08:16:43.711" v="11208" actId="165"/>
          <ac:picMkLst>
            <pc:docMk/>
            <pc:sldMk cId="1055779880" sldId="275"/>
            <ac:picMk id="100" creationId="{22F1DF83-0F27-4E67-91A7-E07AE9401477}"/>
          </ac:picMkLst>
        </pc:picChg>
        <pc:picChg chg="add mod">
          <ac:chgData name="Roussel, Gaetan" userId="269e9c6f-a5fe-49a6-9b6b-1c16ee3e16b1" providerId="ADAL" clId="{A43ED10B-C0D7-409E-AD3F-D6A5AE869F78}" dt="2022-06-29T19:46:08.202" v="11119" actId="12788"/>
          <ac:picMkLst>
            <pc:docMk/>
            <pc:sldMk cId="1055779880" sldId="275"/>
            <ac:picMk id="1026" creationId="{20EB85DA-A857-44B5-B3A9-80EE3FE9E2DA}"/>
          </ac:picMkLst>
        </pc:picChg>
        <pc:picChg chg="add del">
          <ac:chgData name="Roussel, Gaetan" userId="269e9c6f-a5fe-49a6-9b6b-1c16ee3e16b1" providerId="ADAL" clId="{A43ED10B-C0D7-409E-AD3F-D6A5AE869F78}" dt="2022-06-27T09:28:15.361" v="6712"/>
          <ac:picMkLst>
            <pc:docMk/>
            <pc:sldMk cId="1055779880" sldId="275"/>
            <ac:picMk id="1028" creationId="{7BF1B623-7256-4506-A9D4-45937DFC0284}"/>
          </ac:picMkLst>
        </pc:picChg>
        <pc:picChg chg="add mod">
          <ac:chgData name="Roussel, Gaetan" userId="269e9c6f-a5fe-49a6-9b6b-1c16ee3e16b1" providerId="ADAL" clId="{A43ED10B-C0D7-409E-AD3F-D6A5AE869F78}" dt="2022-06-28T20:31:57.759" v="11036" actId="1035"/>
          <ac:picMkLst>
            <pc:docMk/>
            <pc:sldMk cId="1055779880" sldId="275"/>
            <ac:picMk id="1030" creationId="{2F2D06D5-4F15-400C-BBF1-B798A78A7CE3}"/>
          </ac:picMkLst>
        </pc:picChg>
        <pc:picChg chg="add mod">
          <ac:chgData name="Roussel, Gaetan" userId="269e9c6f-a5fe-49a6-9b6b-1c16ee3e16b1" providerId="ADAL" clId="{A43ED10B-C0D7-409E-AD3F-D6A5AE869F78}" dt="2022-06-28T20:31:57.759" v="11036" actId="1035"/>
          <ac:picMkLst>
            <pc:docMk/>
            <pc:sldMk cId="1055779880" sldId="275"/>
            <ac:picMk id="1032" creationId="{7A886971-B6D4-4B0F-8C44-217B987893A0}"/>
          </ac:picMkLst>
        </pc:picChg>
        <pc:picChg chg="add mod">
          <ac:chgData name="Roussel, Gaetan" userId="269e9c6f-a5fe-49a6-9b6b-1c16ee3e16b1" providerId="ADAL" clId="{A43ED10B-C0D7-409E-AD3F-D6A5AE869F78}" dt="2022-06-29T19:46:11.913" v="11120" actId="12788"/>
          <ac:picMkLst>
            <pc:docMk/>
            <pc:sldMk cId="1055779880" sldId="275"/>
            <ac:picMk id="1034" creationId="{221FCB7B-80B5-4BB4-BF61-948568F81E18}"/>
          </ac:picMkLst>
        </pc:picChg>
        <pc:picChg chg="add mod">
          <ac:chgData name="Roussel, Gaetan" userId="269e9c6f-a5fe-49a6-9b6b-1c16ee3e16b1" providerId="ADAL" clId="{A43ED10B-C0D7-409E-AD3F-D6A5AE869F78}" dt="2022-06-27T15:56:07.399" v="8477" actId="1038"/>
          <ac:picMkLst>
            <pc:docMk/>
            <pc:sldMk cId="1055779880" sldId="275"/>
            <ac:picMk id="1036" creationId="{05267CCD-7CE6-44C6-A24B-0C7CCD546ED6}"/>
          </ac:picMkLst>
        </pc:picChg>
        <pc:picChg chg="add mod topLvl">
          <ac:chgData name="Roussel, Gaetan" userId="269e9c6f-a5fe-49a6-9b6b-1c16ee3e16b1" providerId="ADAL" clId="{A43ED10B-C0D7-409E-AD3F-D6A5AE869F78}" dt="2022-06-29T19:47:32.095" v="11167" actId="12788"/>
          <ac:picMkLst>
            <pc:docMk/>
            <pc:sldMk cId="1055779880" sldId="275"/>
            <ac:picMk id="1038" creationId="{8440E3C6-20EC-4C52-97FE-92FE99E01542}"/>
          </ac:picMkLst>
        </pc:picChg>
        <pc:picChg chg="add mod topLvl">
          <ac:chgData name="Roussel, Gaetan" userId="269e9c6f-a5fe-49a6-9b6b-1c16ee3e16b1" providerId="ADAL" clId="{A43ED10B-C0D7-409E-AD3F-D6A5AE869F78}" dt="2022-06-29T19:47:36.376" v="11168" actId="12788"/>
          <ac:picMkLst>
            <pc:docMk/>
            <pc:sldMk cId="1055779880" sldId="275"/>
            <ac:picMk id="1040" creationId="{78DE4DA2-2FCC-42C2-89DD-2BDE85AFF321}"/>
          </ac:picMkLst>
        </pc:picChg>
        <pc:picChg chg="add del mod">
          <ac:chgData name="Roussel, Gaetan" userId="269e9c6f-a5fe-49a6-9b6b-1c16ee3e16b1" providerId="ADAL" clId="{A43ED10B-C0D7-409E-AD3F-D6A5AE869F78}" dt="2022-06-27T16:03:10.818" v="8522"/>
          <ac:picMkLst>
            <pc:docMk/>
            <pc:sldMk cId="1055779880" sldId="275"/>
            <ac:picMk id="1042" creationId="{A4C49A1B-D216-4C87-A4CE-3298D21DCBCA}"/>
          </ac:picMkLst>
        </pc:picChg>
        <pc:picChg chg="add mod topLvl">
          <ac:chgData name="Roussel, Gaetan" userId="269e9c6f-a5fe-49a6-9b6b-1c16ee3e16b1" providerId="ADAL" clId="{A43ED10B-C0D7-409E-AD3F-D6A5AE869F78}" dt="2022-06-29T19:47:08.515" v="11133" actId="12788"/>
          <ac:picMkLst>
            <pc:docMk/>
            <pc:sldMk cId="1055779880" sldId="275"/>
            <ac:picMk id="1044" creationId="{6BFEDD85-F389-4CAE-8F51-592043887D60}"/>
          </ac:picMkLst>
        </pc:picChg>
        <pc:picChg chg="add mod">
          <ac:chgData name="Roussel, Gaetan" userId="269e9c6f-a5fe-49a6-9b6b-1c16ee3e16b1" providerId="ADAL" clId="{A43ED10B-C0D7-409E-AD3F-D6A5AE869F78}" dt="2022-06-29T19:47:24.776" v="11152" actId="12788"/>
          <ac:picMkLst>
            <pc:docMk/>
            <pc:sldMk cId="1055779880" sldId="275"/>
            <ac:picMk id="1046" creationId="{11AF7AFC-8A4D-4A22-B4E7-2BDF685CBB2C}"/>
          </ac:picMkLst>
        </pc:picChg>
      </pc:sldChg>
      <pc:sldChg chg="addSp delSp modSp add mod">
        <pc:chgData name="Roussel, Gaetan" userId="269e9c6f-a5fe-49a6-9b6b-1c16ee3e16b1" providerId="ADAL" clId="{A43ED10B-C0D7-409E-AD3F-D6A5AE869F78}" dt="2022-06-30T08:23:05.685" v="11271"/>
        <pc:sldMkLst>
          <pc:docMk/>
          <pc:sldMk cId="2927143411" sldId="276"/>
        </pc:sldMkLst>
        <pc:spChg chg="mod">
          <ac:chgData name="Roussel, Gaetan" userId="269e9c6f-a5fe-49a6-9b6b-1c16ee3e16b1" providerId="ADAL" clId="{A43ED10B-C0D7-409E-AD3F-D6A5AE869F78}" dt="2022-06-28T18:25:32.530" v="9590" actId="403"/>
          <ac:spMkLst>
            <pc:docMk/>
            <pc:sldMk cId="2927143411" sldId="276"/>
            <ac:spMk id="2" creationId="{CB5A1A39-FEA5-45F0-8A95-1A2DE8823E7B}"/>
          </ac:spMkLst>
        </pc:spChg>
        <pc:spChg chg="mod topLvl">
          <ac:chgData name="Roussel, Gaetan" userId="269e9c6f-a5fe-49a6-9b6b-1c16ee3e16b1" providerId="ADAL" clId="{A43ED10B-C0D7-409E-AD3F-D6A5AE869F78}" dt="2022-06-30T08:15:56.113" v="11187" actId="165"/>
          <ac:spMkLst>
            <pc:docMk/>
            <pc:sldMk cId="2927143411" sldId="276"/>
            <ac:spMk id="5" creationId="{81E10ACE-8204-433C-A47C-CE8C4C39D474}"/>
          </ac:spMkLst>
        </pc:spChg>
        <pc:spChg chg="del mod">
          <ac:chgData name="Roussel, Gaetan" userId="269e9c6f-a5fe-49a6-9b6b-1c16ee3e16b1" providerId="ADAL" clId="{A43ED10B-C0D7-409E-AD3F-D6A5AE869F78}" dt="2022-06-27T15:01:29.063" v="8034" actId="478"/>
          <ac:spMkLst>
            <pc:docMk/>
            <pc:sldMk cId="2927143411" sldId="276"/>
            <ac:spMk id="10" creationId="{0A7632A1-F470-44E8-8B9D-388969850213}"/>
          </ac:spMkLst>
        </pc:spChg>
        <pc:spChg chg="del">
          <ac:chgData name="Roussel, Gaetan" userId="269e9c6f-a5fe-49a6-9b6b-1c16ee3e16b1" providerId="ADAL" clId="{A43ED10B-C0D7-409E-AD3F-D6A5AE869F78}" dt="2022-06-27T13:55:51.531" v="7611" actId="478"/>
          <ac:spMkLst>
            <pc:docMk/>
            <pc:sldMk cId="2927143411" sldId="276"/>
            <ac:spMk id="22" creationId="{1E6D79E5-A4E8-4878-9DCA-DB6B0BD98F74}"/>
          </ac:spMkLst>
        </pc:spChg>
        <pc:spChg chg="del">
          <ac:chgData name="Roussel, Gaetan" userId="269e9c6f-a5fe-49a6-9b6b-1c16ee3e16b1" providerId="ADAL" clId="{A43ED10B-C0D7-409E-AD3F-D6A5AE869F78}" dt="2022-06-27T13:55:51.531" v="7611" actId="478"/>
          <ac:spMkLst>
            <pc:docMk/>
            <pc:sldMk cId="2927143411" sldId="276"/>
            <ac:spMk id="23" creationId="{0581B795-2274-460D-A1B2-40606A9CDF9E}"/>
          </ac:spMkLst>
        </pc:spChg>
        <pc:spChg chg="del">
          <ac:chgData name="Roussel, Gaetan" userId="269e9c6f-a5fe-49a6-9b6b-1c16ee3e16b1" providerId="ADAL" clId="{A43ED10B-C0D7-409E-AD3F-D6A5AE869F78}" dt="2022-06-27T13:55:51.531" v="7611" actId="478"/>
          <ac:spMkLst>
            <pc:docMk/>
            <pc:sldMk cId="2927143411" sldId="276"/>
            <ac:spMk id="25" creationId="{69A7D39B-FCD2-4ABC-AE6B-5DDF986BB487}"/>
          </ac:spMkLst>
        </pc:spChg>
        <pc:spChg chg="del">
          <ac:chgData name="Roussel, Gaetan" userId="269e9c6f-a5fe-49a6-9b6b-1c16ee3e16b1" providerId="ADAL" clId="{A43ED10B-C0D7-409E-AD3F-D6A5AE869F78}" dt="2022-06-27T13:55:51.531" v="7611" actId="478"/>
          <ac:spMkLst>
            <pc:docMk/>
            <pc:sldMk cId="2927143411" sldId="276"/>
            <ac:spMk id="29" creationId="{28411CCC-5312-41E3-AEF2-8292630489E8}"/>
          </ac:spMkLst>
        </pc:spChg>
        <pc:spChg chg="add mod">
          <ac:chgData name="Roussel, Gaetan" userId="269e9c6f-a5fe-49a6-9b6b-1c16ee3e16b1" providerId="ADAL" clId="{A43ED10B-C0D7-409E-AD3F-D6A5AE869F78}" dt="2022-06-27T15:12:46.261" v="8276" actId="122"/>
          <ac:spMkLst>
            <pc:docMk/>
            <pc:sldMk cId="2927143411" sldId="276"/>
            <ac:spMk id="30" creationId="{DA4460F7-0D07-432E-8823-8EFFB7985608}"/>
          </ac:spMkLst>
        </pc:spChg>
        <pc:spChg chg="add mod">
          <ac:chgData name="Roussel, Gaetan" userId="269e9c6f-a5fe-49a6-9b6b-1c16ee3e16b1" providerId="ADAL" clId="{A43ED10B-C0D7-409E-AD3F-D6A5AE869F78}" dt="2022-06-27T15:13:05.020" v="8279" actId="207"/>
          <ac:spMkLst>
            <pc:docMk/>
            <pc:sldMk cId="2927143411" sldId="276"/>
            <ac:spMk id="31" creationId="{18474B37-5488-4FCD-A71B-D870A79465D3}"/>
          </ac:spMkLst>
        </pc:spChg>
        <pc:spChg chg="del">
          <ac:chgData name="Roussel, Gaetan" userId="269e9c6f-a5fe-49a6-9b6b-1c16ee3e16b1" providerId="ADAL" clId="{A43ED10B-C0D7-409E-AD3F-D6A5AE869F78}" dt="2022-06-27T13:55:51.531" v="7611" actId="478"/>
          <ac:spMkLst>
            <pc:docMk/>
            <pc:sldMk cId="2927143411" sldId="276"/>
            <ac:spMk id="32" creationId="{9B4695B5-522B-4384-995F-4FF6F3D1797C}"/>
          </ac:spMkLst>
        </pc:spChg>
        <pc:spChg chg="del">
          <ac:chgData name="Roussel, Gaetan" userId="269e9c6f-a5fe-49a6-9b6b-1c16ee3e16b1" providerId="ADAL" clId="{A43ED10B-C0D7-409E-AD3F-D6A5AE869F78}" dt="2022-06-27T13:55:51.531" v="7611" actId="478"/>
          <ac:spMkLst>
            <pc:docMk/>
            <pc:sldMk cId="2927143411" sldId="276"/>
            <ac:spMk id="33" creationId="{C57D4A9F-B1C1-43F3-808A-94509DF7036F}"/>
          </ac:spMkLst>
        </pc:spChg>
        <pc:spChg chg="add mod">
          <ac:chgData name="Roussel, Gaetan" userId="269e9c6f-a5fe-49a6-9b6b-1c16ee3e16b1" providerId="ADAL" clId="{A43ED10B-C0D7-409E-AD3F-D6A5AE869F78}" dt="2022-06-27T15:05:43.891" v="8081" actId="20577"/>
          <ac:spMkLst>
            <pc:docMk/>
            <pc:sldMk cId="2927143411" sldId="276"/>
            <ac:spMk id="34" creationId="{BFC4FBCB-51FF-4AC3-BF7F-B180F45A8996}"/>
          </ac:spMkLst>
        </pc:spChg>
        <pc:spChg chg="add mod">
          <ac:chgData name="Roussel, Gaetan" userId="269e9c6f-a5fe-49a6-9b6b-1c16ee3e16b1" providerId="ADAL" clId="{A43ED10B-C0D7-409E-AD3F-D6A5AE869F78}" dt="2022-06-27T15:01:45.014" v="8079" actId="1036"/>
          <ac:spMkLst>
            <pc:docMk/>
            <pc:sldMk cId="2927143411" sldId="276"/>
            <ac:spMk id="35" creationId="{F4D0B410-957B-428D-8BED-91B949AA9B29}"/>
          </ac:spMkLst>
        </pc:spChg>
        <pc:spChg chg="add mod">
          <ac:chgData name="Roussel, Gaetan" userId="269e9c6f-a5fe-49a6-9b6b-1c16ee3e16b1" providerId="ADAL" clId="{A43ED10B-C0D7-409E-AD3F-D6A5AE869F78}" dt="2022-06-27T15:01:45.014" v="8079" actId="1036"/>
          <ac:spMkLst>
            <pc:docMk/>
            <pc:sldMk cId="2927143411" sldId="276"/>
            <ac:spMk id="36" creationId="{0D375DF9-4888-4E47-89A1-5DFBA75DE5D7}"/>
          </ac:spMkLst>
        </pc:spChg>
        <pc:spChg chg="add mod">
          <ac:chgData name="Roussel, Gaetan" userId="269e9c6f-a5fe-49a6-9b6b-1c16ee3e16b1" providerId="ADAL" clId="{A43ED10B-C0D7-409E-AD3F-D6A5AE869F78}" dt="2022-06-27T15:01:45.014" v="8079" actId="1036"/>
          <ac:spMkLst>
            <pc:docMk/>
            <pc:sldMk cId="2927143411" sldId="276"/>
            <ac:spMk id="37" creationId="{461E58FB-A63C-4B52-AD7D-04F735303A3F}"/>
          </ac:spMkLst>
        </pc:spChg>
        <pc:spChg chg="add mod">
          <ac:chgData name="Roussel, Gaetan" userId="269e9c6f-a5fe-49a6-9b6b-1c16ee3e16b1" providerId="ADAL" clId="{A43ED10B-C0D7-409E-AD3F-D6A5AE869F78}" dt="2022-06-28T08:05:45.971" v="9017" actId="790"/>
          <ac:spMkLst>
            <pc:docMk/>
            <pc:sldMk cId="2927143411" sldId="276"/>
            <ac:spMk id="38" creationId="{5B680DFD-8CAF-4B3B-ADEC-8299B802955D}"/>
          </ac:spMkLst>
        </pc:spChg>
        <pc:spChg chg="mod topLvl">
          <ac:chgData name="Roussel, Gaetan" userId="269e9c6f-a5fe-49a6-9b6b-1c16ee3e16b1" providerId="ADAL" clId="{A43ED10B-C0D7-409E-AD3F-D6A5AE869F78}" dt="2022-06-27T15:01:45.014" v="8079" actId="1036"/>
          <ac:spMkLst>
            <pc:docMk/>
            <pc:sldMk cId="2927143411" sldId="276"/>
            <ac:spMk id="40" creationId="{7580797F-7A78-4546-B25D-A7AEC01C10C1}"/>
          </ac:spMkLst>
        </pc:spChg>
        <pc:spChg chg="mod ord topLvl">
          <ac:chgData name="Roussel, Gaetan" userId="269e9c6f-a5fe-49a6-9b6b-1c16ee3e16b1" providerId="ADAL" clId="{A43ED10B-C0D7-409E-AD3F-D6A5AE869F78}" dt="2022-06-27T15:01:45.014" v="8079" actId="1036"/>
          <ac:spMkLst>
            <pc:docMk/>
            <pc:sldMk cId="2927143411" sldId="276"/>
            <ac:spMk id="41" creationId="{8E80990E-99CD-4757-B051-0EDCB90D3F4D}"/>
          </ac:spMkLst>
        </pc:spChg>
        <pc:spChg chg="mod ord topLvl">
          <ac:chgData name="Roussel, Gaetan" userId="269e9c6f-a5fe-49a6-9b6b-1c16ee3e16b1" providerId="ADAL" clId="{A43ED10B-C0D7-409E-AD3F-D6A5AE869F78}" dt="2022-06-27T15:01:45.014" v="8079" actId="1036"/>
          <ac:spMkLst>
            <pc:docMk/>
            <pc:sldMk cId="2927143411" sldId="276"/>
            <ac:spMk id="42" creationId="{168F89DE-374F-41BE-80D6-E1258235AC1D}"/>
          </ac:spMkLst>
        </pc:spChg>
        <pc:spChg chg="mod ord topLvl">
          <ac:chgData name="Roussel, Gaetan" userId="269e9c6f-a5fe-49a6-9b6b-1c16ee3e16b1" providerId="ADAL" clId="{A43ED10B-C0D7-409E-AD3F-D6A5AE869F78}" dt="2022-06-27T15:01:45.014" v="8079" actId="1036"/>
          <ac:spMkLst>
            <pc:docMk/>
            <pc:sldMk cId="2927143411" sldId="276"/>
            <ac:spMk id="43" creationId="{E716A2C6-4B80-4570-B96F-EBF926BE5B58}"/>
          </ac:spMkLst>
        </pc:spChg>
        <pc:spChg chg="del">
          <ac:chgData name="Roussel, Gaetan" userId="269e9c6f-a5fe-49a6-9b6b-1c16ee3e16b1" providerId="ADAL" clId="{A43ED10B-C0D7-409E-AD3F-D6A5AE869F78}" dt="2022-06-27T13:55:51.531" v="7611" actId="478"/>
          <ac:spMkLst>
            <pc:docMk/>
            <pc:sldMk cId="2927143411" sldId="276"/>
            <ac:spMk id="44" creationId="{CCAEA40A-CEB9-4484-8E36-0C7E65ABF470}"/>
          </ac:spMkLst>
        </pc:spChg>
        <pc:spChg chg="mod topLvl">
          <ac:chgData name="Roussel, Gaetan" userId="269e9c6f-a5fe-49a6-9b6b-1c16ee3e16b1" providerId="ADAL" clId="{A43ED10B-C0D7-409E-AD3F-D6A5AE869F78}" dt="2022-06-27T15:01:45.014" v="8079" actId="1036"/>
          <ac:spMkLst>
            <pc:docMk/>
            <pc:sldMk cId="2927143411" sldId="276"/>
            <ac:spMk id="45" creationId="{BD2D0235-B2C0-4A4A-8E18-B6D4478BBF7A}"/>
          </ac:spMkLst>
        </pc:spChg>
        <pc:spChg chg="mod topLvl">
          <ac:chgData name="Roussel, Gaetan" userId="269e9c6f-a5fe-49a6-9b6b-1c16ee3e16b1" providerId="ADAL" clId="{A43ED10B-C0D7-409E-AD3F-D6A5AE869F78}" dt="2022-06-27T15:01:45.014" v="8079" actId="1036"/>
          <ac:spMkLst>
            <pc:docMk/>
            <pc:sldMk cId="2927143411" sldId="276"/>
            <ac:spMk id="46" creationId="{BF47FE0A-757F-4B41-9814-30F57EF30F10}"/>
          </ac:spMkLst>
        </pc:spChg>
        <pc:spChg chg="mod topLvl">
          <ac:chgData name="Roussel, Gaetan" userId="269e9c6f-a5fe-49a6-9b6b-1c16ee3e16b1" providerId="ADAL" clId="{A43ED10B-C0D7-409E-AD3F-D6A5AE869F78}" dt="2022-06-27T15:01:45.014" v="8079" actId="1036"/>
          <ac:spMkLst>
            <pc:docMk/>
            <pc:sldMk cId="2927143411" sldId="276"/>
            <ac:spMk id="47" creationId="{4B3747D0-41D5-4AF9-923D-75710B8C3F06}"/>
          </ac:spMkLst>
        </pc:spChg>
        <pc:spChg chg="del">
          <ac:chgData name="Roussel, Gaetan" userId="269e9c6f-a5fe-49a6-9b6b-1c16ee3e16b1" providerId="ADAL" clId="{A43ED10B-C0D7-409E-AD3F-D6A5AE869F78}" dt="2022-06-27T13:55:51.531" v="7611" actId="478"/>
          <ac:spMkLst>
            <pc:docMk/>
            <pc:sldMk cId="2927143411" sldId="276"/>
            <ac:spMk id="48" creationId="{6EA9643C-2AD7-4AEC-A813-26A2F7547C47}"/>
          </ac:spMkLst>
        </pc:spChg>
        <pc:spChg chg="del">
          <ac:chgData name="Roussel, Gaetan" userId="269e9c6f-a5fe-49a6-9b6b-1c16ee3e16b1" providerId="ADAL" clId="{A43ED10B-C0D7-409E-AD3F-D6A5AE869F78}" dt="2022-06-27T13:55:51.531" v="7611" actId="478"/>
          <ac:spMkLst>
            <pc:docMk/>
            <pc:sldMk cId="2927143411" sldId="276"/>
            <ac:spMk id="49" creationId="{1009CA02-FDB1-46A8-B8B5-42C97090A153}"/>
          </ac:spMkLst>
        </pc:spChg>
        <pc:spChg chg="del">
          <ac:chgData name="Roussel, Gaetan" userId="269e9c6f-a5fe-49a6-9b6b-1c16ee3e16b1" providerId="ADAL" clId="{A43ED10B-C0D7-409E-AD3F-D6A5AE869F78}" dt="2022-06-27T13:55:51.531" v="7611" actId="478"/>
          <ac:spMkLst>
            <pc:docMk/>
            <pc:sldMk cId="2927143411" sldId="276"/>
            <ac:spMk id="50" creationId="{1CD9A3F8-6C68-4416-8790-2B4584C2B553}"/>
          </ac:spMkLst>
        </pc:spChg>
        <pc:spChg chg="del">
          <ac:chgData name="Roussel, Gaetan" userId="269e9c6f-a5fe-49a6-9b6b-1c16ee3e16b1" providerId="ADAL" clId="{A43ED10B-C0D7-409E-AD3F-D6A5AE869F78}" dt="2022-06-27T13:55:51.531" v="7611" actId="478"/>
          <ac:spMkLst>
            <pc:docMk/>
            <pc:sldMk cId="2927143411" sldId="276"/>
            <ac:spMk id="51" creationId="{FFB03786-7877-4A60-B225-933BA9B76077}"/>
          </ac:spMkLst>
        </pc:spChg>
        <pc:spChg chg="del">
          <ac:chgData name="Roussel, Gaetan" userId="269e9c6f-a5fe-49a6-9b6b-1c16ee3e16b1" providerId="ADAL" clId="{A43ED10B-C0D7-409E-AD3F-D6A5AE869F78}" dt="2022-06-27T13:55:51.531" v="7611" actId="478"/>
          <ac:spMkLst>
            <pc:docMk/>
            <pc:sldMk cId="2927143411" sldId="276"/>
            <ac:spMk id="52" creationId="{7C6B689D-9731-4523-8C75-F983B776CAE0}"/>
          </ac:spMkLst>
        </pc:spChg>
        <pc:spChg chg="del">
          <ac:chgData name="Roussel, Gaetan" userId="269e9c6f-a5fe-49a6-9b6b-1c16ee3e16b1" providerId="ADAL" clId="{A43ED10B-C0D7-409E-AD3F-D6A5AE869F78}" dt="2022-06-27T13:55:51.531" v="7611" actId="478"/>
          <ac:spMkLst>
            <pc:docMk/>
            <pc:sldMk cId="2927143411" sldId="276"/>
            <ac:spMk id="53" creationId="{E4BF3BA6-B368-4BA6-882E-7B7F21FEF6C4}"/>
          </ac:spMkLst>
        </pc:spChg>
        <pc:spChg chg="del">
          <ac:chgData name="Roussel, Gaetan" userId="269e9c6f-a5fe-49a6-9b6b-1c16ee3e16b1" providerId="ADAL" clId="{A43ED10B-C0D7-409E-AD3F-D6A5AE869F78}" dt="2022-06-27T13:55:51.531" v="7611" actId="478"/>
          <ac:spMkLst>
            <pc:docMk/>
            <pc:sldMk cId="2927143411" sldId="276"/>
            <ac:spMk id="54" creationId="{ECB053FB-6134-4E18-BF92-CCF4E37ADADE}"/>
          </ac:spMkLst>
        </pc:spChg>
        <pc:spChg chg="del">
          <ac:chgData name="Roussel, Gaetan" userId="269e9c6f-a5fe-49a6-9b6b-1c16ee3e16b1" providerId="ADAL" clId="{A43ED10B-C0D7-409E-AD3F-D6A5AE869F78}" dt="2022-06-27T13:55:51.531" v="7611" actId="478"/>
          <ac:spMkLst>
            <pc:docMk/>
            <pc:sldMk cId="2927143411" sldId="276"/>
            <ac:spMk id="55" creationId="{86C2DF57-D229-44AD-961B-5E66F221D3FF}"/>
          </ac:spMkLst>
        </pc:spChg>
        <pc:spChg chg="del">
          <ac:chgData name="Roussel, Gaetan" userId="269e9c6f-a5fe-49a6-9b6b-1c16ee3e16b1" providerId="ADAL" clId="{A43ED10B-C0D7-409E-AD3F-D6A5AE869F78}" dt="2022-06-27T13:55:51.531" v="7611" actId="478"/>
          <ac:spMkLst>
            <pc:docMk/>
            <pc:sldMk cId="2927143411" sldId="276"/>
            <ac:spMk id="56" creationId="{B3825B54-0C5A-4D66-961B-9AF8CC521190}"/>
          </ac:spMkLst>
        </pc:spChg>
        <pc:spChg chg="del">
          <ac:chgData name="Roussel, Gaetan" userId="269e9c6f-a5fe-49a6-9b6b-1c16ee3e16b1" providerId="ADAL" clId="{A43ED10B-C0D7-409E-AD3F-D6A5AE869F78}" dt="2022-06-27T13:55:51.531" v="7611" actId="478"/>
          <ac:spMkLst>
            <pc:docMk/>
            <pc:sldMk cId="2927143411" sldId="276"/>
            <ac:spMk id="57" creationId="{6EA3128C-47F6-45DD-AB15-C9E3616D8E71}"/>
          </ac:spMkLst>
        </pc:spChg>
        <pc:spChg chg="del">
          <ac:chgData name="Roussel, Gaetan" userId="269e9c6f-a5fe-49a6-9b6b-1c16ee3e16b1" providerId="ADAL" clId="{A43ED10B-C0D7-409E-AD3F-D6A5AE869F78}" dt="2022-06-27T13:55:51.531" v="7611" actId="478"/>
          <ac:spMkLst>
            <pc:docMk/>
            <pc:sldMk cId="2927143411" sldId="276"/>
            <ac:spMk id="58" creationId="{AC1E2B4F-79C6-4420-B526-CBF220398CF0}"/>
          </ac:spMkLst>
        </pc:spChg>
        <pc:spChg chg="del">
          <ac:chgData name="Roussel, Gaetan" userId="269e9c6f-a5fe-49a6-9b6b-1c16ee3e16b1" providerId="ADAL" clId="{A43ED10B-C0D7-409E-AD3F-D6A5AE869F78}" dt="2022-06-27T13:58:32.574" v="7842" actId="21"/>
          <ac:spMkLst>
            <pc:docMk/>
            <pc:sldMk cId="2927143411" sldId="276"/>
            <ac:spMk id="59" creationId="{3C2EABE7-85FB-4988-B0CF-42A36E79CE31}"/>
          </ac:spMkLst>
        </pc:spChg>
        <pc:spChg chg="mod topLvl">
          <ac:chgData name="Roussel, Gaetan" userId="269e9c6f-a5fe-49a6-9b6b-1c16ee3e16b1" providerId="ADAL" clId="{A43ED10B-C0D7-409E-AD3F-D6A5AE869F78}" dt="2022-06-27T15:01:45.014" v="8079" actId="1036"/>
          <ac:spMkLst>
            <pc:docMk/>
            <pc:sldMk cId="2927143411" sldId="276"/>
            <ac:spMk id="60" creationId="{9126D4D6-7CAA-46C0-97FB-C669F145D14C}"/>
          </ac:spMkLst>
        </pc:spChg>
        <pc:spChg chg="mod">
          <ac:chgData name="Roussel, Gaetan" userId="269e9c6f-a5fe-49a6-9b6b-1c16ee3e16b1" providerId="ADAL" clId="{A43ED10B-C0D7-409E-AD3F-D6A5AE869F78}" dt="2022-06-27T14:49:29.452" v="7984" actId="208"/>
          <ac:spMkLst>
            <pc:docMk/>
            <pc:sldMk cId="2927143411" sldId="276"/>
            <ac:spMk id="65" creationId="{57370037-0DF2-49AB-A0F6-D232919E436E}"/>
          </ac:spMkLst>
        </pc:spChg>
        <pc:spChg chg="mod">
          <ac:chgData name="Roussel, Gaetan" userId="269e9c6f-a5fe-49a6-9b6b-1c16ee3e16b1" providerId="ADAL" clId="{A43ED10B-C0D7-409E-AD3F-D6A5AE869F78}" dt="2022-06-27T14:49:29.452" v="7984" actId="208"/>
          <ac:spMkLst>
            <pc:docMk/>
            <pc:sldMk cId="2927143411" sldId="276"/>
            <ac:spMk id="66" creationId="{89C9C7A4-8F6B-4A23-830E-0DFB4801E544}"/>
          </ac:spMkLst>
        </pc:spChg>
        <pc:spChg chg="mod">
          <ac:chgData name="Roussel, Gaetan" userId="269e9c6f-a5fe-49a6-9b6b-1c16ee3e16b1" providerId="ADAL" clId="{A43ED10B-C0D7-409E-AD3F-D6A5AE869F78}" dt="2022-06-27T14:49:29.452" v="7984" actId="208"/>
          <ac:spMkLst>
            <pc:docMk/>
            <pc:sldMk cId="2927143411" sldId="276"/>
            <ac:spMk id="67" creationId="{BAACA2FE-F5F4-4787-81BC-58C41C7EABC2}"/>
          </ac:spMkLst>
        </pc:spChg>
        <pc:spChg chg="mod">
          <ac:chgData name="Roussel, Gaetan" userId="269e9c6f-a5fe-49a6-9b6b-1c16ee3e16b1" providerId="ADAL" clId="{A43ED10B-C0D7-409E-AD3F-D6A5AE869F78}" dt="2022-06-27T14:49:29.452" v="7984" actId="208"/>
          <ac:spMkLst>
            <pc:docMk/>
            <pc:sldMk cId="2927143411" sldId="276"/>
            <ac:spMk id="68" creationId="{32FA1137-23DA-4929-83E2-F8E7DA9E4AF9}"/>
          </ac:spMkLst>
        </pc:spChg>
        <pc:spChg chg="mod">
          <ac:chgData name="Roussel, Gaetan" userId="269e9c6f-a5fe-49a6-9b6b-1c16ee3e16b1" providerId="ADAL" clId="{A43ED10B-C0D7-409E-AD3F-D6A5AE869F78}" dt="2022-06-27T14:49:29.452" v="7984" actId="208"/>
          <ac:spMkLst>
            <pc:docMk/>
            <pc:sldMk cId="2927143411" sldId="276"/>
            <ac:spMk id="69" creationId="{F49B2D00-933F-4B79-8BCB-2D7A96EC81AA}"/>
          </ac:spMkLst>
        </pc:spChg>
        <pc:spChg chg="mod">
          <ac:chgData name="Roussel, Gaetan" userId="269e9c6f-a5fe-49a6-9b6b-1c16ee3e16b1" providerId="ADAL" clId="{A43ED10B-C0D7-409E-AD3F-D6A5AE869F78}" dt="2022-06-27T13:56:04.845" v="7612"/>
          <ac:spMkLst>
            <pc:docMk/>
            <pc:sldMk cId="2927143411" sldId="276"/>
            <ac:spMk id="71" creationId="{DC43410F-A47A-4E0D-9DA5-20A739D5E7CF}"/>
          </ac:spMkLst>
        </pc:spChg>
        <pc:spChg chg="mod">
          <ac:chgData name="Roussel, Gaetan" userId="269e9c6f-a5fe-49a6-9b6b-1c16ee3e16b1" providerId="ADAL" clId="{A43ED10B-C0D7-409E-AD3F-D6A5AE869F78}" dt="2022-06-27T13:56:04.845" v="7612"/>
          <ac:spMkLst>
            <pc:docMk/>
            <pc:sldMk cId="2927143411" sldId="276"/>
            <ac:spMk id="72" creationId="{1BB9E7AD-A433-4FC1-A118-6624355C311B}"/>
          </ac:spMkLst>
        </pc:spChg>
        <pc:spChg chg="mod">
          <ac:chgData name="Roussel, Gaetan" userId="269e9c6f-a5fe-49a6-9b6b-1c16ee3e16b1" providerId="ADAL" clId="{A43ED10B-C0D7-409E-AD3F-D6A5AE869F78}" dt="2022-06-27T14:59:06.497" v="8011" actId="207"/>
          <ac:spMkLst>
            <pc:docMk/>
            <pc:sldMk cId="2927143411" sldId="276"/>
            <ac:spMk id="74" creationId="{8E5F1988-B45A-41A9-8799-0486760DD16E}"/>
          </ac:spMkLst>
        </pc:spChg>
        <pc:spChg chg="mod">
          <ac:chgData name="Roussel, Gaetan" userId="269e9c6f-a5fe-49a6-9b6b-1c16ee3e16b1" providerId="ADAL" clId="{A43ED10B-C0D7-409E-AD3F-D6A5AE869F78}" dt="2022-06-27T14:59:06.497" v="8011" actId="207"/>
          <ac:spMkLst>
            <pc:docMk/>
            <pc:sldMk cId="2927143411" sldId="276"/>
            <ac:spMk id="75" creationId="{95A22FC4-FA3F-4A78-BC13-631A4DF4ECF3}"/>
          </ac:spMkLst>
        </pc:spChg>
        <pc:spChg chg="mod">
          <ac:chgData name="Roussel, Gaetan" userId="269e9c6f-a5fe-49a6-9b6b-1c16ee3e16b1" providerId="ADAL" clId="{A43ED10B-C0D7-409E-AD3F-D6A5AE869F78}" dt="2022-06-27T14:59:06.497" v="8011" actId="207"/>
          <ac:spMkLst>
            <pc:docMk/>
            <pc:sldMk cId="2927143411" sldId="276"/>
            <ac:spMk id="76" creationId="{9759E2EB-6F6E-48BC-AE48-06BB525A2F9C}"/>
          </ac:spMkLst>
        </pc:spChg>
        <pc:spChg chg="mod">
          <ac:chgData name="Roussel, Gaetan" userId="269e9c6f-a5fe-49a6-9b6b-1c16ee3e16b1" providerId="ADAL" clId="{A43ED10B-C0D7-409E-AD3F-D6A5AE869F78}" dt="2022-06-27T14:59:06.497" v="8011" actId="207"/>
          <ac:spMkLst>
            <pc:docMk/>
            <pc:sldMk cId="2927143411" sldId="276"/>
            <ac:spMk id="77" creationId="{54E12759-F566-460E-AAC9-7E729D99B48C}"/>
          </ac:spMkLst>
        </pc:spChg>
        <pc:spChg chg="mod">
          <ac:chgData name="Roussel, Gaetan" userId="269e9c6f-a5fe-49a6-9b6b-1c16ee3e16b1" providerId="ADAL" clId="{A43ED10B-C0D7-409E-AD3F-D6A5AE869F78}" dt="2022-06-27T14:59:06.497" v="8011" actId="207"/>
          <ac:spMkLst>
            <pc:docMk/>
            <pc:sldMk cId="2927143411" sldId="276"/>
            <ac:spMk id="78" creationId="{6D248273-ECB6-4127-8AF4-6E6C4F7F4132}"/>
          </ac:spMkLst>
        </pc:spChg>
        <pc:spChg chg="mod">
          <ac:chgData name="Roussel, Gaetan" userId="269e9c6f-a5fe-49a6-9b6b-1c16ee3e16b1" providerId="ADAL" clId="{A43ED10B-C0D7-409E-AD3F-D6A5AE869F78}" dt="2022-06-27T14:59:06.497" v="8011" actId="207"/>
          <ac:spMkLst>
            <pc:docMk/>
            <pc:sldMk cId="2927143411" sldId="276"/>
            <ac:spMk id="79" creationId="{F32E1F59-EA8C-44B2-BCB6-FA64F27B26A3}"/>
          </ac:spMkLst>
        </pc:spChg>
        <pc:spChg chg="mod">
          <ac:chgData name="Roussel, Gaetan" userId="269e9c6f-a5fe-49a6-9b6b-1c16ee3e16b1" providerId="ADAL" clId="{A43ED10B-C0D7-409E-AD3F-D6A5AE869F78}" dt="2022-06-27T15:31:42.729" v="8450" actId="2085"/>
          <ac:spMkLst>
            <pc:docMk/>
            <pc:sldMk cId="2927143411" sldId="276"/>
            <ac:spMk id="81" creationId="{33118ED6-9AFB-4B7E-8E4E-CD5A59E8B60A}"/>
          </ac:spMkLst>
        </pc:spChg>
        <pc:spChg chg="mod">
          <ac:chgData name="Roussel, Gaetan" userId="269e9c6f-a5fe-49a6-9b6b-1c16ee3e16b1" providerId="ADAL" clId="{A43ED10B-C0D7-409E-AD3F-D6A5AE869F78}" dt="2022-06-27T15:31:42.729" v="8450" actId="2085"/>
          <ac:spMkLst>
            <pc:docMk/>
            <pc:sldMk cId="2927143411" sldId="276"/>
            <ac:spMk id="82" creationId="{1C2E55A2-0C3F-455D-97CE-05202D04B2E2}"/>
          </ac:spMkLst>
        </pc:spChg>
        <pc:spChg chg="mod">
          <ac:chgData name="Roussel, Gaetan" userId="269e9c6f-a5fe-49a6-9b6b-1c16ee3e16b1" providerId="ADAL" clId="{A43ED10B-C0D7-409E-AD3F-D6A5AE869F78}" dt="2022-06-27T13:56:04.845" v="7612"/>
          <ac:spMkLst>
            <pc:docMk/>
            <pc:sldMk cId="2927143411" sldId="276"/>
            <ac:spMk id="84" creationId="{0049593C-EFB1-496F-A3EF-0C47E9D4598A}"/>
          </ac:spMkLst>
        </pc:spChg>
        <pc:spChg chg="mod">
          <ac:chgData name="Roussel, Gaetan" userId="269e9c6f-a5fe-49a6-9b6b-1c16ee3e16b1" providerId="ADAL" clId="{A43ED10B-C0D7-409E-AD3F-D6A5AE869F78}" dt="2022-06-27T13:56:04.845" v="7612"/>
          <ac:spMkLst>
            <pc:docMk/>
            <pc:sldMk cId="2927143411" sldId="276"/>
            <ac:spMk id="85" creationId="{18A629D2-428F-4894-AB06-0FB1E7F40EA6}"/>
          </ac:spMkLst>
        </pc:spChg>
        <pc:spChg chg="mod">
          <ac:chgData name="Roussel, Gaetan" userId="269e9c6f-a5fe-49a6-9b6b-1c16ee3e16b1" providerId="ADAL" clId="{A43ED10B-C0D7-409E-AD3F-D6A5AE869F78}" dt="2022-06-27T13:56:04.845" v="7612"/>
          <ac:spMkLst>
            <pc:docMk/>
            <pc:sldMk cId="2927143411" sldId="276"/>
            <ac:spMk id="87" creationId="{EF5C1C4D-5B96-496C-9842-74921456B44F}"/>
          </ac:spMkLst>
        </pc:spChg>
        <pc:spChg chg="mod">
          <ac:chgData name="Roussel, Gaetan" userId="269e9c6f-a5fe-49a6-9b6b-1c16ee3e16b1" providerId="ADAL" clId="{A43ED10B-C0D7-409E-AD3F-D6A5AE869F78}" dt="2022-06-27T13:56:04.845" v="7612"/>
          <ac:spMkLst>
            <pc:docMk/>
            <pc:sldMk cId="2927143411" sldId="276"/>
            <ac:spMk id="88" creationId="{C209D0E5-9113-48A6-8D6B-6A7CED360580}"/>
          </ac:spMkLst>
        </pc:spChg>
        <pc:spChg chg="mod">
          <ac:chgData name="Roussel, Gaetan" userId="269e9c6f-a5fe-49a6-9b6b-1c16ee3e16b1" providerId="ADAL" clId="{A43ED10B-C0D7-409E-AD3F-D6A5AE869F78}" dt="2022-06-27T13:56:04.845" v="7612"/>
          <ac:spMkLst>
            <pc:docMk/>
            <pc:sldMk cId="2927143411" sldId="276"/>
            <ac:spMk id="89" creationId="{80C1FEA1-8CF9-44F1-B8C5-4AEBBF04F77B}"/>
          </ac:spMkLst>
        </pc:spChg>
        <pc:spChg chg="mod">
          <ac:chgData name="Roussel, Gaetan" userId="269e9c6f-a5fe-49a6-9b6b-1c16ee3e16b1" providerId="ADAL" clId="{A43ED10B-C0D7-409E-AD3F-D6A5AE869F78}" dt="2022-06-27T13:56:04.845" v="7612"/>
          <ac:spMkLst>
            <pc:docMk/>
            <pc:sldMk cId="2927143411" sldId="276"/>
            <ac:spMk id="90" creationId="{A406F00E-9AD6-4451-9723-61267F21C4F7}"/>
          </ac:spMkLst>
        </pc:spChg>
        <pc:spChg chg="mod">
          <ac:chgData name="Roussel, Gaetan" userId="269e9c6f-a5fe-49a6-9b6b-1c16ee3e16b1" providerId="ADAL" clId="{A43ED10B-C0D7-409E-AD3F-D6A5AE869F78}" dt="2022-06-27T13:56:04.845" v="7612"/>
          <ac:spMkLst>
            <pc:docMk/>
            <pc:sldMk cId="2927143411" sldId="276"/>
            <ac:spMk id="91" creationId="{34CB5D17-DC9E-4C93-91F2-947738956627}"/>
          </ac:spMkLst>
        </pc:spChg>
        <pc:spChg chg="mod">
          <ac:chgData name="Roussel, Gaetan" userId="269e9c6f-a5fe-49a6-9b6b-1c16ee3e16b1" providerId="ADAL" clId="{A43ED10B-C0D7-409E-AD3F-D6A5AE869F78}" dt="2022-06-27T13:56:04.845" v="7612"/>
          <ac:spMkLst>
            <pc:docMk/>
            <pc:sldMk cId="2927143411" sldId="276"/>
            <ac:spMk id="92" creationId="{0E7D970E-3CB3-471A-8F7F-B90DBBE61E8E}"/>
          </ac:spMkLst>
        </pc:spChg>
        <pc:spChg chg="mod">
          <ac:chgData name="Roussel, Gaetan" userId="269e9c6f-a5fe-49a6-9b6b-1c16ee3e16b1" providerId="ADAL" clId="{A43ED10B-C0D7-409E-AD3F-D6A5AE869F78}" dt="2022-06-27T13:56:04.845" v="7612"/>
          <ac:spMkLst>
            <pc:docMk/>
            <pc:sldMk cId="2927143411" sldId="276"/>
            <ac:spMk id="94" creationId="{9977343F-962F-4FAC-96D8-4314FBDC5F56}"/>
          </ac:spMkLst>
        </pc:spChg>
        <pc:spChg chg="mod">
          <ac:chgData name="Roussel, Gaetan" userId="269e9c6f-a5fe-49a6-9b6b-1c16ee3e16b1" providerId="ADAL" clId="{A43ED10B-C0D7-409E-AD3F-D6A5AE869F78}" dt="2022-06-27T13:56:04.845" v="7612"/>
          <ac:spMkLst>
            <pc:docMk/>
            <pc:sldMk cId="2927143411" sldId="276"/>
            <ac:spMk id="95" creationId="{7A3455FC-7149-4FD9-9991-937441DF8B11}"/>
          </ac:spMkLst>
        </pc:spChg>
        <pc:spChg chg="add mod">
          <ac:chgData name="Roussel, Gaetan" userId="269e9c6f-a5fe-49a6-9b6b-1c16ee3e16b1" providerId="ADAL" clId="{A43ED10B-C0D7-409E-AD3F-D6A5AE869F78}" dt="2022-06-30T08:23:05.685" v="11271"/>
          <ac:spMkLst>
            <pc:docMk/>
            <pc:sldMk cId="2927143411" sldId="276"/>
            <ac:spMk id="96" creationId="{E96F04D6-6689-4912-B054-4661903327C9}"/>
          </ac:spMkLst>
        </pc:spChg>
        <pc:grpChg chg="del mod">
          <ac:chgData name="Roussel, Gaetan" userId="269e9c6f-a5fe-49a6-9b6b-1c16ee3e16b1" providerId="ADAL" clId="{A43ED10B-C0D7-409E-AD3F-D6A5AE869F78}" dt="2022-06-30T08:15:56.113" v="11187" actId="165"/>
          <ac:grpSpMkLst>
            <pc:docMk/>
            <pc:sldMk cId="2927143411" sldId="276"/>
            <ac:grpSpMk id="4" creationId="{53882DFE-8A8B-4EA2-8E53-18DC598F9180}"/>
          </ac:grpSpMkLst>
        </pc:grpChg>
        <pc:grpChg chg="del">
          <ac:chgData name="Roussel, Gaetan" userId="269e9c6f-a5fe-49a6-9b6b-1c16ee3e16b1" providerId="ADAL" clId="{A43ED10B-C0D7-409E-AD3F-D6A5AE869F78}" dt="2022-06-27T15:01:30.474" v="8035" actId="478"/>
          <ac:grpSpMkLst>
            <pc:docMk/>
            <pc:sldMk cId="2927143411" sldId="276"/>
            <ac:grpSpMk id="11" creationId="{5061F58C-3A2E-406B-837D-2668939AD10E}"/>
          </ac:grpSpMkLst>
        </pc:grpChg>
        <pc:grpChg chg="add del mod">
          <ac:chgData name="Roussel, Gaetan" userId="269e9c6f-a5fe-49a6-9b6b-1c16ee3e16b1" providerId="ADAL" clId="{A43ED10B-C0D7-409E-AD3F-D6A5AE869F78}" dt="2022-06-27T14:48:52.772" v="7975" actId="165"/>
          <ac:grpSpMkLst>
            <pc:docMk/>
            <pc:sldMk cId="2927143411" sldId="276"/>
            <ac:grpSpMk id="39" creationId="{995F432A-E859-4D6F-8FA6-FAEAB968C42E}"/>
          </ac:grpSpMkLst>
        </pc:grpChg>
        <pc:grpChg chg="add mod">
          <ac:chgData name="Roussel, Gaetan" userId="269e9c6f-a5fe-49a6-9b6b-1c16ee3e16b1" providerId="ADAL" clId="{A43ED10B-C0D7-409E-AD3F-D6A5AE869F78}" dt="2022-06-27T15:01:45.014" v="8079" actId="1036"/>
          <ac:grpSpMkLst>
            <pc:docMk/>
            <pc:sldMk cId="2927143411" sldId="276"/>
            <ac:grpSpMk id="64" creationId="{6BD5C082-62EC-4B01-8D73-33B2C71DB74E}"/>
          </ac:grpSpMkLst>
        </pc:grpChg>
        <pc:grpChg chg="add mod">
          <ac:chgData name="Roussel, Gaetan" userId="269e9c6f-a5fe-49a6-9b6b-1c16ee3e16b1" providerId="ADAL" clId="{A43ED10B-C0D7-409E-AD3F-D6A5AE869F78}" dt="2022-06-27T15:01:45.014" v="8079" actId="1036"/>
          <ac:grpSpMkLst>
            <pc:docMk/>
            <pc:sldMk cId="2927143411" sldId="276"/>
            <ac:grpSpMk id="70" creationId="{DF7EBFA9-986E-4E1D-B2CA-5FA3D8841652}"/>
          </ac:grpSpMkLst>
        </pc:grpChg>
        <pc:grpChg chg="add mod ord">
          <ac:chgData name="Roussel, Gaetan" userId="269e9c6f-a5fe-49a6-9b6b-1c16ee3e16b1" providerId="ADAL" clId="{A43ED10B-C0D7-409E-AD3F-D6A5AE869F78}" dt="2022-06-27T15:01:45.014" v="8079" actId="1036"/>
          <ac:grpSpMkLst>
            <pc:docMk/>
            <pc:sldMk cId="2927143411" sldId="276"/>
            <ac:grpSpMk id="73" creationId="{7A446B54-46B1-401A-B6E2-E3115704F88D}"/>
          </ac:grpSpMkLst>
        </pc:grpChg>
        <pc:grpChg chg="add mod">
          <ac:chgData name="Roussel, Gaetan" userId="269e9c6f-a5fe-49a6-9b6b-1c16ee3e16b1" providerId="ADAL" clId="{A43ED10B-C0D7-409E-AD3F-D6A5AE869F78}" dt="2022-06-27T15:13:12.071" v="8281" actId="207"/>
          <ac:grpSpMkLst>
            <pc:docMk/>
            <pc:sldMk cId="2927143411" sldId="276"/>
            <ac:grpSpMk id="80" creationId="{B2710E79-38EC-4404-9C16-E8270A7DB8DA}"/>
          </ac:grpSpMkLst>
        </pc:grpChg>
        <pc:grpChg chg="add mod">
          <ac:chgData name="Roussel, Gaetan" userId="269e9c6f-a5fe-49a6-9b6b-1c16ee3e16b1" providerId="ADAL" clId="{A43ED10B-C0D7-409E-AD3F-D6A5AE869F78}" dt="2022-06-27T15:01:45.014" v="8079" actId="1036"/>
          <ac:grpSpMkLst>
            <pc:docMk/>
            <pc:sldMk cId="2927143411" sldId="276"/>
            <ac:grpSpMk id="83" creationId="{B4A23118-0ECD-4926-A5D0-9A2F84E75962}"/>
          </ac:grpSpMkLst>
        </pc:grpChg>
        <pc:grpChg chg="add mod">
          <ac:chgData name="Roussel, Gaetan" userId="269e9c6f-a5fe-49a6-9b6b-1c16ee3e16b1" providerId="ADAL" clId="{A43ED10B-C0D7-409E-AD3F-D6A5AE869F78}" dt="2022-06-27T15:01:45.014" v="8079" actId="1036"/>
          <ac:grpSpMkLst>
            <pc:docMk/>
            <pc:sldMk cId="2927143411" sldId="276"/>
            <ac:grpSpMk id="86" creationId="{8FB05796-3D8E-4B63-843F-FE0356534DAD}"/>
          </ac:grpSpMkLst>
        </pc:grpChg>
        <pc:grpChg chg="add mod">
          <ac:chgData name="Roussel, Gaetan" userId="269e9c6f-a5fe-49a6-9b6b-1c16ee3e16b1" providerId="ADAL" clId="{A43ED10B-C0D7-409E-AD3F-D6A5AE869F78}" dt="2022-06-27T15:01:45.014" v="8079" actId="1036"/>
          <ac:grpSpMkLst>
            <pc:docMk/>
            <pc:sldMk cId="2927143411" sldId="276"/>
            <ac:grpSpMk id="93" creationId="{F92F2DE3-01D9-4F63-85B9-AB31DEFC1E61}"/>
          </ac:grpSpMkLst>
        </pc:grpChg>
        <pc:picChg chg="del mod topLvl">
          <ac:chgData name="Roussel, Gaetan" userId="269e9c6f-a5fe-49a6-9b6b-1c16ee3e16b1" providerId="ADAL" clId="{A43ED10B-C0D7-409E-AD3F-D6A5AE869F78}" dt="2022-06-30T08:15:58.586" v="11188" actId="478"/>
          <ac:picMkLst>
            <pc:docMk/>
            <pc:sldMk cId="2927143411" sldId="276"/>
            <ac:picMk id="6" creationId="{47F3CF94-A622-43E9-B30E-55A33040A8F7}"/>
          </ac:picMkLst>
        </pc:picChg>
        <pc:picChg chg="mod topLvl">
          <ac:chgData name="Roussel, Gaetan" userId="269e9c6f-a5fe-49a6-9b6b-1c16ee3e16b1" providerId="ADAL" clId="{A43ED10B-C0D7-409E-AD3F-D6A5AE869F78}" dt="2022-06-30T08:15:56.113" v="11187" actId="165"/>
          <ac:picMkLst>
            <pc:docMk/>
            <pc:sldMk cId="2927143411" sldId="276"/>
            <ac:picMk id="7" creationId="{981A2C2E-67FB-4095-850E-3C58285190B2}"/>
          </ac:picMkLst>
        </pc:picChg>
        <pc:picChg chg="add mod">
          <ac:chgData name="Roussel, Gaetan" userId="269e9c6f-a5fe-49a6-9b6b-1c16ee3e16b1" providerId="ADAL" clId="{A43ED10B-C0D7-409E-AD3F-D6A5AE869F78}" dt="2022-06-30T08:15:59.064" v="11189"/>
          <ac:picMkLst>
            <pc:docMk/>
            <pc:sldMk cId="2927143411" sldId="276"/>
            <ac:picMk id="58" creationId="{83971CD0-4957-409A-9FA6-8AAC23769E5E}"/>
          </ac:picMkLst>
        </pc:picChg>
        <pc:cxnChg chg="mod topLvl">
          <ac:chgData name="Roussel, Gaetan" userId="269e9c6f-a5fe-49a6-9b6b-1c16ee3e16b1" providerId="ADAL" clId="{A43ED10B-C0D7-409E-AD3F-D6A5AE869F78}" dt="2022-06-27T15:01:45.014" v="8079" actId="1036"/>
          <ac:cxnSpMkLst>
            <pc:docMk/>
            <pc:sldMk cId="2927143411" sldId="276"/>
            <ac:cxnSpMk id="61" creationId="{73D47921-97F1-483F-ABD7-00EEE64DAD74}"/>
          </ac:cxnSpMkLst>
        </pc:cxnChg>
        <pc:cxnChg chg="mod topLvl">
          <ac:chgData name="Roussel, Gaetan" userId="269e9c6f-a5fe-49a6-9b6b-1c16ee3e16b1" providerId="ADAL" clId="{A43ED10B-C0D7-409E-AD3F-D6A5AE869F78}" dt="2022-06-27T15:01:45.014" v="8079" actId="1036"/>
          <ac:cxnSpMkLst>
            <pc:docMk/>
            <pc:sldMk cId="2927143411" sldId="276"/>
            <ac:cxnSpMk id="62" creationId="{97B169E6-6F35-4E9F-B441-7886AD52A33E}"/>
          </ac:cxnSpMkLst>
        </pc:cxnChg>
        <pc:cxnChg chg="mod topLvl">
          <ac:chgData name="Roussel, Gaetan" userId="269e9c6f-a5fe-49a6-9b6b-1c16ee3e16b1" providerId="ADAL" clId="{A43ED10B-C0D7-409E-AD3F-D6A5AE869F78}" dt="2022-06-27T15:01:45.014" v="8079" actId="1036"/>
          <ac:cxnSpMkLst>
            <pc:docMk/>
            <pc:sldMk cId="2927143411" sldId="276"/>
            <ac:cxnSpMk id="63" creationId="{F82E7AC1-CC0A-4899-A3C1-BFE520E06922}"/>
          </ac:cxnSpMkLst>
        </pc:cxnChg>
      </pc:sldChg>
      <pc:sldChg chg="addSp delSp modSp new mod">
        <pc:chgData name="Roussel, Gaetan" userId="269e9c6f-a5fe-49a6-9b6b-1c16ee3e16b1" providerId="ADAL" clId="{A43ED10B-C0D7-409E-AD3F-D6A5AE869F78}" dt="2022-06-30T08:01:41.908" v="11171" actId="12789"/>
        <pc:sldMkLst>
          <pc:docMk/>
          <pc:sldMk cId="719005801" sldId="277"/>
        </pc:sldMkLst>
        <pc:spChg chg="del">
          <ac:chgData name="Roussel, Gaetan" userId="269e9c6f-a5fe-49a6-9b6b-1c16ee3e16b1" providerId="ADAL" clId="{A43ED10B-C0D7-409E-AD3F-D6A5AE869F78}" dt="2022-06-27T15:24:21.364" v="8308" actId="478"/>
          <ac:spMkLst>
            <pc:docMk/>
            <pc:sldMk cId="719005801" sldId="277"/>
            <ac:spMk id="2" creationId="{F6A293BA-93F4-49E7-AA91-FBED8C522F5B}"/>
          </ac:spMkLst>
        </pc:spChg>
        <pc:spChg chg="del">
          <ac:chgData name="Roussel, Gaetan" userId="269e9c6f-a5fe-49a6-9b6b-1c16ee3e16b1" providerId="ADAL" clId="{A43ED10B-C0D7-409E-AD3F-D6A5AE869F78}" dt="2022-06-27T15:24:23.502" v="8309" actId="478"/>
          <ac:spMkLst>
            <pc:docMk/>
            <pc:sldMk cId="719005801" sldId="277"/>
            <ac:spMk id="3" creationId="{1EDAE710-27E8-40BF-9791-79A9165C759B}"/>
          </ac:spMkLst>
        </pc:spChg>
        <pc:spChg chg="add mod">
          <ac:chgData name="Roussel, Gaetan" userId="269e9c6f-a5fe-49a6-9b6b-1c16ee3e16b1" providerId="ADAL" clId="{A43ED10B-C0D7-409E-AD3F-D6A5AE869F78}" dt="2022-06-27T15:25:03.005" v="8313" actId="14100"/>
          <ac:spMkLst>
            <pc:docMk/>
            <pc:sldMk cId="719005801" sldId="277"/>
            <ac:spMk id="4" creationId="{824871D8-1AC5-41F0-818C-68374AF81A9B}"/>
          </ac:spMkLst>
        </pc:spChg>
        <pc:spChg chg="add mod">
          <ac:chgData name="Roussel, Gaetan" userId="269e9c6f-a5fe-49a6-9b6b-1c16ee3e16b1" providerId="ADAL" clId="{A43ED10B-C0D7-409E-AD3F-D6A5AE869F78}" dt="2022-06-27T15:25:20.654" v="8320" actId="207"/>
          <ac:spMkLst>
            <pc:docMk/>
            <pc:sldMk cId="719005801" sldId="277"/>
            <ac:spMk id="5" creationId="{C35BAB8A-6514-4835-91B9-0F4884A90120}"/>
          </ac:spMkLst>
        </pc:spChg>
        <pc:spChg chg="add mod">
          <ac:chgData name="Roussel, Gaetan" userId="269e9c6f-a5fe-49a6-9b6b-1c16ee3e16b1" providerId="ADAL" clId="{A43ED10B-C0D7-409E-AD3F-D6A5AE869F78}" dt="2022-06-27T15:25:23.875" v="8321" actId="207"/>
          <ac:spMkLst>
            <pc:docMk/>
            <pc:sldMk cId="719005801" sldId="277"/>
            <ac:spMk id="6" creationId="{DD6F2691-E0E7-4FE9-840D-7EC1CA0613B4}"/>
          </ac:spMkLst>
        </pc:spChg>
        <pc:spChg chg="add mod">
          <ac:chgData name="Roussel, Gaetan" userId="269e9c6f-a5fe-49a6-9b6b-1c16ee3e16b1" providerId="ADAL" clId="{A43ED10B-C0D7-409E-AD3F-D6A5AE869F78}" dt="2022-06-27T15:27:22.483" v="8434" actId="20577"/>
          <ac:spMkLst>
            <pc:docMk/>
            <pc:sldMk cId="719005801" sldId="277"/>
            <ac:spMk id="7" creationId="{8AF5F2BF-846C-47B4-8E5D-391DF2D66889}"/>
          </ac:spMkLst>
        </pc:spChg>
        <pc:picChg chg="add mod">
          <ac:chgData name="Roussel, Gaetan" userId="269e9c6f-a5fe-49a6-9b6b-1c16ee3e16b1" providerId="ADAL" clId="{A43ED10B-C0D7-409E-AD3F-D6A5AE869F78}" dt="2022-06-30T08:01:41.908" v="11171" actId="12789"/>
          <ac:picMkLst>
            <pc:docMk/>
            <pc:sldMk cId="719005801" sldId="277"/>
            <ac:picMk id="8" creationId="{280C82A3-02FE-4093-9163-8EB8CB3B6E62}"/>
          </ac:picMkLst>
        </pc:picChg>
        <pc:picChg chg="add mod">
          <ac:chgData name="Roussel, Gaetan" userId="269e9c6f-a5fe-49a6-9b6b-1c16ee3e16b1" providerId="ADAL" clId="{A43ED10B-C0D7-409E-AD3F-D6A5AE869F78}" dt="2022-06-30T08:01:41.908" v="11171" actId="12789"/>
          <ac:picMkLst>
            <pc:docMk/>
            <pc:sldMk cId="719005801" sldId="277"/>
            <ac:picMk id="9" creationId="{7D5A965D-DFD6-4496-9BE6-F39616BD0821}"/>
          </ac:picMkLst>
        </pc:picChg>
      </pc:sldChg>
      <pc:sldChg chg="delSp modSp add del mod ord">
        <pc:chgData name="Roussel, Gaetan" userId="269e9c6f-a5fe-49a6-9b6b-1c16ee3e16b1" providerId="ADAL" clId="{A43ED10B-C0D7-409E-AD3F-D6A5AE869F78}" dt="2022-06-29T08:59:18.328" v="11037" actId="2696"/>
        <pc:sldMkLst>
          <pc:docMk/>
          <pc:sldMk cId="716895750" sldId="278"/>
        </pc:sldMkLst>
        <pc:spChg chg="del">
          <ac:chgData name="Roussel, Gaetan" userId="269e9c6f-a5fe-49a6-9b6b-1c16ee3e16b1" providerId="ADAL" clId="{A43ED10B-C0D7-409E-AD3F-D6A5AE869F78}" dt="2022-06-27T15:29:01.759" v="8437" actId="478"/>
          <ac:spMkLst>
            <pc:docMk/>
            <pc:sldMk cId="716895750" sldId="278"/>
            <ac:spMk id="12" creationId="{90D99F0E-6487-466F-B60F-822FF5B994BE}"/>
          </ac:spMkLst>
        </pc:spChg>
        <pc:spChg chg="del">
          <ac:chgData name="Roussel, Gaetan" userId="269e9c6f-a5fe-49a6-9b6b-1c16ee3e16b1" providerId="ADAL" clId="{A43ED10B-C0D7-409E-AD3F-D6A5AE869F78}" dt="2022-06-27T15:29:01.759" v="8437" actId="478"/>
          <ac:spMkLst>
            <pc:docMk/>
            <pc:sldMk cId="716895750" sldId="278"/>
            <ac:spMk id="13" creationId="{32464AAF-FCB9-4D95-8CE2-FB3618582707}"/>
          </ac:spMkLst>
        </pc:spChg>
        <pc:spChg chg="del">
          <ac:chgData name="Roussel, Gaetan" userId="269e9c6f-a5fe-49a6-9b6b-1c16ee3e16b1" providerId="ADAL" clId="{A43ED10B-C0D7-409E-AD3F-D6A5AE869F78}" dt="2022-06-27T15:29:01.759" v="8437" actId="478"/>
          <ac:spMkLst>
            <pc:docMk/>
            <pc:sldMk cId="716895750" sldId="278"/>
            <ac:spMk id="14" creationId="{11D7D80D-A55B-4775-AB33-5D0259829CD4}"/>
          </ac:spMkLst>
        </pc:spChg>
        <pc:spChg chg="del">
          <ac:chgData name="Roussel, Gaetan" userId="269e9c6f-a5fe-49a6-9b6b-1c16ee3e16b1" providerId="ADAL" clId="{A43ED10B-C0D7-409E-AD3F-D6A5AE869F78}" dt="2022-06-27T15:29:01.759" v="8437" actId="478"/>
          <ac:spMkLst>
            <pc:docMk/>
            <pc:sldMk cId="716895750" sldId="278"/>
            <ac:spMk id="15" creationId="{51787CE7-0093-4AEA-B8EA-12027B5892D3}"/>
          </ac:spMkLst>
        </pc:spChg>
        <pc:spChg chg="del">
          <ac:chgData name="Roussel, Gaetan" userId="269e9c6f-a5fe-49a6-9b6b-1c16ee3e16b1" providerId="ADAL" clId="{A43ED10B-C0D7-409E-AD3F-D6A5AE869F78}" dt="2022-06-27T15:29:01.759" v="8437" actId="478"/>
          <ac:spMkLst>
            <pc:docMk/>
            <pc:sldMk cId="716895750" sldId="278"/>
            <ac:spMk id="16" creationId="{7C150236-0C1D-42D0-95B9-1172F8B361A4}"/>
          </ac:spMkLst>
        </pc:spChg>
        <pc:spChg chg="del">
          <ac:chgData name="Roussel, Gaetan" userId="269e9c6f-a5fe-49a6-9b6b-1c16ee3e16b1" providerId="ADAL" clId="{A43ED10B-C0D7-409E-AD3F-D6A5AE869F78}" dt="2022-06-27T15:29:01.759" v="8437" actId="478"/>
          <ac:spMkLst>
            <pc:docMk/>
            <pc:sldMk cId="716895750" sldId="278"/>
            <ac:spMk id="17" creationId="{F9440DDC-A728-41AC-92F9-5C253688B567}"/>
          </ac:spMkLst>
        </pc:spChg>
        <pc:spChg chg="del">
          <ac:chgData name="Roussel, Gaetan" userId="269e9c6f-a5fe-49a6-9b6b-1c16ee3e16b1" providerId="ADAL" clId="{A43ED10B-C0D7-409E-AD3F-D6A5AE869F78}" dt="2022-06-27T15:29:01.759" v="8437" actId="478"/>
          <ac:spMkLst>
            <pc:docMk/>
            <pc:sldMk cId="716895750" sldId="278"/>
            <ac:spMk id="18" creationId="{49297067-BF34-4891-B38C-A2A217E01B4D}"/>
          </ac:spMkLst>
        </pc:spChg>
        <pc:spChg chg="del">
          <ac:chgData name="Roussel, Gaetan" userId="269e9c6f-a5fe-49a6-9b6b-1c16ee3e16b1" providerId="ADAL" clId="{A43ED10B-C0D7-409E-AD3F-D6A5AE869F78}" dt="2022-06-27T15:29:01.759" v="8437" actId="478"/>
          <ac:spMkLst>
            <pc:docMk/>
            <pc:sldMk cId="716895750" sldId="278"/>
            <ac:spMk id="19" creationId="{E06CF4BC-7F41-4FAB-88F8-13C93E24A93A}"/>
          </ac:spMkLst>
        </pc:spChg>
        <pc:spChg chg="del">
          <ac:chgData name="Roussel, Gaetan" userId="269e9c6f-a5fe-49a6-9b6b-1c16ee3e16b1" providerId="ADAL" clId="{A43ED10B-C0D7-409E-AD3F-D6A5AE869F78}" dt="2022-06-27T15:29:01.759" v="8437" actId="478"/>
          <ac:spMkLst>
            <pc:docMk/>
            <pc:sldMk cId="716895750" sldId="278"/>
            <ac:spMk id="20" creationId="{0056AFD6-FC5E-4F92-B039-764BE2B2020B}"/>
          </ac:spMkLst>
        </pc:spChg>
        <pc:spChg chg="del">
          <ac:chgData name="Roussel, Gaetan" userId="269e9c6f-a5fe-49a6-9b6b-1c16ee3e16b1" providerId="ADAL" clId="{A43ED10B-C0D7-409E-AD3F-D6A5AE869F78}" dt="2022-06-27T15:29:01.759" v="8437" actId="478"/>
          <ac:spMkLst>
            <pc:docMk/>
            <pc:sldMk cId="716895750" sldId="278"/>
            <ac:spMk id="26" creationId="{64E8AC6A-1ABC-48CE-AC44-E38EA4856A3F}"/>
          </ac:spMkLst>
        </pc:spChg>
        <pc:spChg chg="del">
          <ac:chgData name="Roussel, Gaetan" userId="269e9c6f-a5fe-49a6-9b6b-1c16ee3e16b1" providerId="ADAL" clId="{A43ED10B-C0D7-409E-AD3F-D6A5AE869F78}" dt="2022-06-27T15:29:01.759" v="8437" actId="478"/>
          <ac:spMkLst>
            <pc:docMk/>
            <pc:sldMk cId="716895750" sldId="278"/>
            <ac:spMk id="27" creationId="{3296FFE7-C31F-42AC-BA96-873DB213A62D}"/>
          </ac:spMkLst>
        </pc:spChg>
        <pc:spChg chg="del">
          <ac:chgData name="Roussel, Gaetan" userId="269e9c6f-a5fe-49a6-9b6b-1c16ee3e16b1" providerId="ADAL" clId="{A43ED10B-C0D7-409E-AD3F-D6A5AE869F78}" dt="2022-06-27T15:29:01.759" v="8437" actId="478"/>
          <ac:spMkLst>
            <pc:docMk/>
            <pc:sldMk cId="716895750" sldId="278"/>
            <ac:spMk id="28" creationId="{0446E9E8-AAEF-4407-BC33-A76202FBF54A}"/>
          </ac:spMkLst>
        </pc:spChg>
        <pc:spChg chg="del">
          <ac:chgData name="Roussel, Gaetan" userId="269e9c6f-a5fe-49a6-9b6b-1c16ee3e16b1" providerId="ADAL" clId="{A43ED10B-C0D7-409E-AD3F-D6A5AE869F78}" dt="2022-06-27T15:29:01.759" v="8437" actId="478"/>
          <ac:spMkLst>
            <pc:docMk/>
            <pc:sldMk cId="716895750" sldId="278"/>
            <ac:spMk id="29" creationId="{6EE0149D-8963-4206-94CD-E1EF8FCDE084}"/>
          </ac:spMkLst>
        </pc:spChg>
        <pc:spChg chg="del">
          <ac:chgData name="Roussel, Gaetan" userId="269e9c6f-a5fe-49a6-9b6b-1c16ee3e16b1" providerId="ADAL" clId="{A43ED10B-C0D7-409E-AD3F-D6A5AE869F78}" dt="2022-06-27T15:29:01.759" v="8437" actId="478"/>
          <ac:spMkLst>
            <pc:docMk/>
            <pc:sldMk cId="716895750" sldId="278"/>
            <ac:spMk id="30" creationId="{20058797-752F-45F1-830B-9E93F88518D3}"/>
          </ac:spMkLst>
        </pc:spChg>
        <pc:spChg chg="del">
          <ac:chgData name="Roussel, Gaetan" userId="269e9c6f-a5fe-49a6-9b6b-1c16ee3e16b1" providerId="ADAL" clId="{A43ED10B-C0D7-409E-AD3F-D6A5AE869F78}" dt="2022-06-27T15:29:01.759" v="8437" actId="478"/>
          <ac:spMkLst>
            <pc:docMk/>
            <pc:sldMk cId="716895750" sldId="278"/>
            <ac:spMk id="31" creationId="{1421EB22-1632-4920-8CCF-2951FB650D9A}"/>
          </ac:spMkLst>
        </pc:spChg>
        <pc:spChg chg="del">
          <ac:chgData name="Roussel, Gaetan" userId="269e9c6f-a5fe-49a6-9b6b-1c16ee3e16b1" providerId="ADAL" clId="{A43ED10B-C0D7-409E-AD3F-D6A5AE869F78}" dt="2022-06-27T15:29:01.759" v="8437" actId="478"/>
          <ac:spMkLst>
            <pc:docMk/>
            <pc:sldMk cId="716895750" sldId="278"/>
            <ac:spMk id="32" creationId="{E9FA67C8-3CA6-45AC-8555-73A48F7B59AD}"/>
          </ac:spMkLst>
        </pc:spChg>
        <pc:spChg chg="del">
          <ac:chgData name="Roussel, Gaetan" userId="269e9c6f-a5fe-49a6-9b6b-1c16ee3e16b1" providerId="ADAL" clId="{A43ED10B-C0D7-409E-AD3F-D6A5AE869F78}" dt="2022-06-27T15:29:01.759" v="8437" actId="478"/>
          <ac:spMkLst>
            <pc:docMk/>
            <pc:sldMk cId="716895750" sldId="278"/>
            <ac:spMk id="33" creationId="{C7CA4193-8D44-4166-90EF-3E2E9CCB9053}"/>
          </ac:spMkLst>
        </pc:spChg>
        <pc:spChg chg="mod">
          <ac:chgData name="Roussel, Gaetan" userId="269e9c6f-a5fe-49a6-9b6b-1c16ee3e16b1" providerId="ADAL" clId="{A43ED10B-C0D7-409E-AD3F-D6A5AE869F78}" dt="2022-06-28T18:27:14.823" v="9663" actId="403"/>
          <ac:spMkLst>
            <pc:docMk/>
            <pc:sldMk cId="716895750" sldId="278"/>
            <ac:spMk id="60" creationId="{6DB94895-CC2F-4F1D-8164-993E0F18F2AF}"/>
          </ac:spMkLst>
        </pc:spChg>
        <pc:grpChg chg="del">
          <ac:chgData name="Roussel, Gaetan" userId="269e9c6f-a5fe-49a6-9b6b-1c16ee3e16b1" providerId="ADAL" clId="{A43ED10B-C0D7-409E-AD3F-D6A5AE869F78}" dt="2022-06-27T15:29:01.759" v="8437" actId="478"/>
          <ac:grpSpMkLst>
            <pc:docMk/>
            <pc:sldMk cId="716895750" sldId="278"/>
            <ac:grpSpMk id="21" creationId="{EBACFA7B-BAF3-4C84-B11C-1BE76005E7B6}"/>
          </ac:grpSpMkLst>
        </pc:grpChg>
        <pc:grpChg chg="del">
          <ac:chgData name="Roussel, Gaetan" userId="269e9c6f-a5fe-49a6-9b6b-1c16ee3e16b1" providerId="ADAL" clId="{A43ED10B-C0D7-409E-AD3F-D6A5AE869F78}" dt="2022-06-27T15:29:01.759" v="8437" actId="478"/>
          <ac:grpSpMkLst>
            <pc:docMk/>
            <pc:sldMk cId="716895750" sldId="278"/>
            <ac:grpSpMk id="34" creationId="{C3D60243-EAD5-4304-A214-204A5EF5A366}"/>
          </ac:grpSpMkLst>
        </pc:grpChg>
        <pc:grpChg chg="del">
          <ac:chgData name="Roussel, Gaetan" userId="269e9c6f-a5fe-49a6-9b6b-1c16ee3e16b1" providerId="ADAL" clId="{A43ED10B-C0D7-409E-AD3F-D6A5AE869F78}" dt="2022-06-27T15:29:01.759" v="8437" actId="478"/>
          <ac:grpSpMkLst>
            <pc:docMk/>
            <pc:sldMk cId="716895750" sldId="278"/>
            <ac:grpSpMk id="35" creationId="{0825816E-4A38-43B6-81D7-42137176D04D}"/>
          </ac:grpSpMkLst>
        </pc:grpChg>
      </pc:sldChg>
      <pc:sldChg chg="addSp delSp modSp add mod">
        <pc:chgData name="Roussel, Gaetan" userId="269e9c6f-a5fe-49a6-9b6b-1c16ee3e16b1" providerId="ADAL" clId="{A43ED10B-C0D7-409E-AD3F-D6A5AE869F78}" dt="2022-06-30T08:33:12.361" v="11333"/>
        <pc:sldMkLst>
          <pc:docMk/>
          <pc:sldMk cId="3160861075" sldId="279"/>
        </pc:sldMkLst>
        <pc:spChg chg="mod">
          <ac:chgData name="Roussel, Gaetan" userId="269e9c6f-a5fe-49a6-9b6b-1c16ee3e16b1" providerId="ADAL" clId="{A43ED10B-C0D7-409E-AD3F-D6A5AE869F78}" dt="2022-06-28T18:26:10.630" v="9631" actId="20577"/>
          <ac:spMkLst>
            <pc:docMk/>
            <pc:sldMk cId="3160861075" sldId="279"/>
            <ac:spMk id="2" creationId="{CB5A1A39-FEA5-45F0-8A95-1A2DE8823E7B}"/>
          </ac:spMkLst>
        </pc:spChg>
        <pc:spChg chg="add mod">
          <ac:chgData name="Roussel, Gaetan" userId="269e9c6f-a5fe-49a6-9b6b-1c16ee3e16b1" providerId="ADAL" clId="{A43ED10B-C0D7-409E-AD3F-D6A5AE869F78}" dt="2022-06-28T08:19:48.279" v="9096" actId="14100"/>
          <ac:spMkLst>
            <pc:docMk/>
            <pc:sldMk cId="3160861075" sldId="279"/>
            <ac:spMk id="3" creationId="{048260AF-4D32-4907-BC7C-FD44BDFAB2E2}"/>
          </ac:spMkLst>
        </pc:spChg>
        <pc:spChg chg="mod topLvl">
          <ac:chgData name="Roussel, Gaetan" userId="269e9c6f-a5fe-49a6-9b6b-1c16ee3e16b1" providerId="ADAL" clId="{A43ED10B-C0D7-409E-AD3F-D6A5AE869F78}" dt="2022-06-30T08:16:18.099" v="11196" actId="165"/>
          <ac:spMkLst>
            <pc:docMk/>
            <pc:sldMk cId="3160861075" sldId="279"/>
            <ac:spMk id="5" creationId="{81E10ACE-8204-433C-A47C-CE8C4C39D474}"/>
          </ac:spMkLst>
        </pc:spChg>
        <pc:spChg chg="add del mod">
          <ac:chgData name="Roussel, Gaetan" userId="269e9c6f-a5fe-49a6-9b6b-1c16ee3e16b1" providerId="ADAL" clId="{A43ED10B-C0D7-409E-AD3F-D6A5AE869F78}" dt="2022-06-28T08:09:23.181" v="9018" actId="478"/>
          <ac:spMkLst>
            <pc:docMk/>
            <pc:sldMk cId="3160861075" sldId="279"/>
            <ac:spMk id="27" creationId="{12DC8039-2E97-4259-AFAF-512299F5BB43}"/>
          </ac:spMkLst>
        </pc:spChg>
        <pc:spChg chg="del">
          <ac:chgData name="Roussel, Gaetan" userId="269e9c6f-a5fe-49a6-9b6b-1c16ee3e16b1" providerId="ADAL" clId="{A43ED10B-C0D7-409E-AD3F-D6A5AE869F78}" dt="2022-06-27T15:31:23.578" v="8448" actId="478"/>
          <ac:spMkLst>
            <pc:docMk/>
            <pc:sldMk cId="3160861075" sldId="279"/>
            <ac:spMk id="28" creationId="{E99EDF87-C26E-456F-8CA0-799E92485C0E}"/>
          </ac:spMkLst>
        </pc:spChg>
        <pc:spChg chg="add mod">
          <ac:chgData name="Roussel, Gaetan" userId="269e9c6f-a5fe-49a6-9b6b-1c16ee3e16b1" providerId="ADAL" clId="{A43ED10B-C0D7-409E-AD3F-D6A5AE869F78}" dt="2022-06-28T20:30:00.879" v="10978" actId="1036"/>
          <ac:spMkLst>
            <pc:docMk/>
            <pc:sldMk cId="3160861075" sldId="279"/>
            <ac:spMk id="30" creationId="{E4591D20-87F3-45F8-8221-DC0F878B862B}"/>
          </ac:spMkLst>
        </pc:spChg>
        <pc:spChg chg="add mod">
          <ac:chgData name="Roussel, Gaetan" userId="269e9c6f-a5fe-49a6-9b6b-1c16ee3e16b1" providerId="ADAL" clId="{A43ED10B-C0D7-409E-AD3F-D6A5AE869F78}" dt="2022-06-29T09:02:37.003" v="11044" actId="12788"/>
          <ac:spMkLst>
            <pc:docMk/>
            <pc:sldMk cId="3160861075" sldId="279"/>
            <ac:spMk id="32" creationId="{79B17174-197B-41A5-ADA9-628DD9428785}"/>
          </ac:spMkLst>
        </pc:spChg>
        <pc:spChg chg="add del mod">
          <ac:chgData name="Roussel, Gaetan" userId="269e9c6f-a5fe-49a6-9b6b-1c16ee3e16b1" providerId="ADAL" clId="{A43ED10B-C0D7-409E-AD3F-D6A5AE869F78}" dt="2022-06-28T20:30:55.381" v="10991" actId="478"/>
          <ac:spMkLst>
            <pc:docMk/>
            <pc:sldMk cId="3160861075" sldId="279"/>
            <ac:spMk id="33" creationId="{DC8B1A8F-DD60-4C7D-B067-9E0CDABB9403}"/>
          </ac:spMkLst>
        </pc:spChg>
        <pc:spChg chg="add mod">
          <ac:chgData name="Roussel, Gaetan" userId="269e9c6f-a5fe-49a6-9b6b-1c16ee3e16b1" providerId="ADAL" clId="{A43ED10B-C0D7-409E-AD3F-D6A5AE869F78}" dt="2022-06-29T09:02:37.003" v="11044" actId="12788"/>
          <ac:spMkLst>
            <pc:docMk/>
            <pc:sldMk cId="3160861075" sldId="279"/>
            <ac:spMk id="36" creationId="{74FADE06-23E8-431F-A8A6-2F75D17C82C8}"/>
          </ac:spMkLst>
        </pc:spChg>
        <pc:spChg chg="del">
          <ac:chgData name="Roussel, Gaetan" userId="269e9c6f-a5fe-49a6-9b6b-1c16ee3e16b1" providerId="ADAL" clId="{A43ED10B-C0D7-409E-AD3F-D6A5AE869F78}" dt="2022-06-27T15:31:23.578" v="8448" actId="478"/>
          <ac:spMkLst>
            <pc:docMk/>
            <pc:sldMk cId="3160861075" sldId="279"/>
            <ac:spMk id="40" creationId="{844B5908-9AC0-4195-9F00-5EE952F3306A}"/>
          </ac:spMkLst>
        </pc:spChg>
        <pc:spChg chg="del">
          <ac:chgData name="Roussel, Gaetan" userId="269e9c6f-a5fe-49a6-9b6b-1c16ee3e16b1" providerId="ADAL" clId="{A43ED10B-C0D7-409E-AD3F-D6A5AE869F78}" dt="2022-06-27T15:31:23.578" v="8448" actId="478"/>
          <ac:spMkLst>
            <pc:docMk/>
            <pc:sldMk cId="3160861075" sldId="279"/>
            <ac:spMk id="41" creationId="{E4B29BCE-70B4-40BB-A379-CF705E527BBE}"/>
          </ac:spMkLst>
        </pc:spChg>
        <pc:spChg chg="del mod">
          <ac:chgData name="Roussel, Gaetan" userId="269e9c6f-a5fe-49a6-9b6b-1c16ee3e16b1" providerId="ADAL" clId="{A43ED10B-C0D7-409E-AD3F-D6A5AE869F78}" dt="2022-06-28T20:31:08.884" v="11004" actId="478"/>
          <ac:spMkLst>
            <pc:docMk/>
            <pc:sldMk cId="3160861075" sldId="279"/>
            <ac:spMk id="65" creationId="{FB383B82-9C04-4E6C-9E6A-638CBAD1B5AA}"/>
          </ac:spMkLst>
        </pc:spChg>
        <pc:spChg chg="mod">
          <ac:chgData name="Roussel, Gaetan" userId="269e9c6f-a5fe-49a6-9b6b-1c16ee3e16b1" providerId="ADAL" clId="{A43ED10B-C0D7-409E-AD3F-D6A5AE869F78}" dt="2022-06-30T08:23:31.190" v="11295" actId="20577"/>
          <ac:spMkLst>
            <pc:docMk/>
            <pc:sldMk cId="3160861075" sldId="279"/>
            <ac:spMk id="69" creationId="{7D878AFE-EC79-40DB-A93E-7FFD0760E57A}"/>
          </ac:spMkLst>
        </pc:spChg>
        <pc:spChg chg="del">
          <ac:chgData name="Roussel, Gaetan" userId="269e9c6f-a5fe-49a6-9b6b-1c16ee3e16b1" providerId="ADAL" clId="{A43ED10B-C0D7-409E-AD3F-D6A5AE869F78}" dt="2022-06-27T15:31:23.578" v="8448" actId="478"/>
          <ac:spMkLst>
            <pc:docMk/>
            <pc:sldMk cId="3160861075" sldId="279"/>
            <ac:spMk id="70" creationId="{1BF0588B-39FE-4B6C-BE51-C85698ED3866}"/>
          </ac:spMkLst>
        </pc:spChg>
        <pc:grpChg chg="del">
          <ac:chgData name="Roussel, Gaetan" userId="269e9c6f-a5fe-49a6-9b6b-1c16ee3e16b1" providerId="ADAL" clId="{A43ED10B-C0D7-409E-AD3F-D6A5AE869F78}" dt="2022-06-30T08:16:18.099" v="11196" actId="165"/>
          <ac:grpSpMkLst>
            <pc:docMk/>
            <pc:sldMk cId="3160861075" sldId="279"/>
            <ac:grpSpMk id="4" creationId="{53882DFE-8A8B-4EA2-8E53-18DC598F9180}"/>
          </ac:grpSpMkLst>
        </pc:grpChg>
        <pc:grpChg chg="del">
          <ac:chgData name="Roussel, Gaetan" userId="269e9c6f-a5fe-49a6-9b6b-1c16ee3e16b1" providerId="ADAL" clId="{A43ED10B-C0D7-409E-AD3F-D6A5AE869F78}" dt="2022-06-27T15:31:23.578" v="8448" actId="478"/>
          <ac:grpSpMkLst>
            <pc:docMk/>
            <pc:sldMk cId="3160861075" sldId="279"/>
            <ac:grpSpMk id="42" creationId="{4DB7841D-3F82-4A2F-AC23-8D267D13B361}"/>
          </ac:grpSpMkLst>
        </pc:grpChg>
        <pc:grpChg chg="del">
          <ac:chgData name="Roussel, Gaetan" userId="269e9c6f-a5fe-49a6-9b6b-1c16ee3e16b1" providerId="ADAL" clId="{A43ED10B-C0D7-409E-AD3F-D6A5AE869F78}" dt="2022-06-27T15:31:23.578" v="8448" actId="478"/>
          <ac:grpSpMkLst>
            <pc:docMk/>
            <pc:sldMk cId="3160861075" sldId="279"/>
            <ac:grpSpMk id="45" creationId="{4BBFBE85-90C9-4A2A-8815-60DA8580E93D}"/>
          </ac:grpSpMkLst>
        </pc:grpChg>
        <pc:grpChg chg="del">
          <ac:chgData name="Roussel, Gaetan" userId="269e9c6f-a5fe-49a6-9b6b-1c16ee3e16b1" providerId="ADAL" clId="{A43ED10B-C0D7-409E-AD3F-D6A5AE869F78}" dt="2022-06-27T15:31:23.578" v="8448" actId="478"/>
          <ac:grpSpMkLst>
            <pc:docMk/>
            <pc:sldMk cId="3160861075" sldId="279"/>
            <ac:grpSpMk id="48" creationId="{843A4B10-1823-43AE-AD07-CED05BF1E17D}"/>
          </ac:grpSpMkLst>
        </pc:grpChg>
        <pc:grpChg chg="del">
          <ac:chgData name="Roussel, Gaetan" userId="269e9c6f-a5fe-49a6-9b6b-1c16ee3e16b1" providerId="ADAL" clId="{A43ED10B-C0D7-409E-AD3F-D6A5AE869F78}" dt="2022-06-28T20:31:09.731" v="11005" actId="478"/>
          <ac:grpSpMkLst>
            <pc:docMk/>
            <pc:sldMk cId="3160861075" sldId="279"/>
            <ac:grpSpMk id="66" creationId="{C230EDBF-5666-45DA-8C8A-BBFF52AAFFEE}"/>
          </ac:grpSpMkLst>
        </pc:grpChg>
        <pc:graphicFrameChg chg="del">
          <ac:chgData name="Roussel, Gaetan" userId="269e9c6f-a5fe-49a6-9b6b-1c16ee3e16b1" providerId="ADAL" clId="{A43ED10B-C0D7-409E-AD3F-D6A5AE869F78}" dt="2022-06-27T15:31:23.578" v="8448" actId="478"/>
          <ac:graphicFrameMkLst>
            <pc:docMk/>
            <pc:sldMk cId="3160861075" sldId="279"/>
            <ac:graphicFrameMk id="14" creationId="{2CDDFED9-2BC8-443E-8DB6-AF8CB15FAEDA}"/>
          </ac:graphicFrameMkLst>
        </pc:graphicFrameChg>
        <pc:picChg chg="del mod topLvl">
          <ac:chgData name="Roussel, Gaetan" userId="269e9c6f-a5fe-49a6-9b6b-1c16ee3e16b1" providerId="ADAL" clId="{A43ED10B-C0D7-409E-AD3F-D6A5AE869F78}" dt="2022-06-30T08:16:20.214" v="11197" actId="478"/>
          <ac:picMkLst>
            <pc:docMk/>
            <pc:sldMk cId="3160861075" sldId="279"/>
            <ac:picMk id="6" creationId="{47F3CF94-A622-43E9-B30E-55A33040A8F7}"/>
          </ac:picMkLst>
        </pc:picChg>
        <pc:picChg chg="mod topLvl">
          <ac:chgData name="Roussel, Gaetan" userId="269e9c6f-a5fe-49a6-9b6b-1c16ee3e16b1" providerId="ADAL" clId="{A43ED10B-C0D7-409E-AD3F-D6A5AE869F78}" dt="2022-06-30T08:16:18.099" v="11196" actId="165"/>
          <ac:picMkLst>
            <pc:docMk/>
            <pc:sldMk cId="3160861075" sldId="279"/>
            <ac:picMk id="7" creationId="{981A2C2E-67FB-4095-850E-3C58285190B2}"/>
          </ac:picMkLst>
        </pc:picChg>
        <pc:picChg chg="add mod">
          <ac:chgData name="Roussel, Gaetan" userId="269e9c6f-a5fe-49a6-9b6b-1c16ee3e16b1" providerId="ADAL" clId="{A43ED10B-C0D7-409E-AD3F-D6A5AE869F78}" dt="2022-06-30T08:33:12.361" v="11333"/>
          <ac:picMkLst>
            <pc:docMk/>
            <pc:sldMk cId="3160861075" sldId="279"/>
            <ac:picMk id="9" creationId="{6621CA40-958D-43B3-AB41-A8AD8B0332F1}"/>
          </ac:picMkLst>
        </pc:picChg>
        <pc:picChg chg="add mod">
          <ac:chgData name="Roussel, Gaetan" userId="269e9c6f-a5fe-49a6-9b6b-1c16ee3e16b1" providerId="ADAL" clId="{A43ED10B-C0D7-409E-AD3F-D6A5AE869F78}" dt="2022-06-30T08:16:20.628" v="11198"/>
          <ac:picMkLst>
            <pc:docMk/>
            <pc:sldMk cId="3160861075" sldId="279"/>
            <ac:picMk id="15" creationId="{85F9CB27-996F-4EB1-9916-317EC4003221}"/>
          </ac:picMkLst>
        </pc:picChg>
        <pc:picChg chg="add mod">
          <ac:chgData name="Roussel, Gaetan" userId="269e9c6f-a5fe-49a6-9b6b-1c16ee3e16b1" providerId="ADAL" clId="{A43ED10B-C0D7-409E-AD3F-D6A5AE869F78}" dt="2022-06-28T20:30:18.834" v="10982" actId="1076"/>
          <ac:picMkLst>
            <pc:docMk/>
            <pc:sldMk cId="3160861075" sldId="279"/>
            <ac:picMk id="34" creationId="{84630D61-7912-47BB-912A-D33182A6B8FE}"/>
          </ac:picMkLst>
        </pc:picChg>
        <pc:cxnChg chg="del">
          <ac:chgData name="Roussel, Gaetan" userId="269e9c6f-a5fe-49a6-9b6b-1c16ee3e16b1" providerId="ADAL" clId="{A43ED10B-C0D7-409E-AD3F-D6A5AE869F78}" dt="2022-06-27T15:31:23.578" v="8448" actId="478"/>
          <ac:cxnSpMkLst>
            <pc:docMk/>
            <pc:sldMk cId="3160861075" sldId="279"/>
            <ac:cxnSpMk id="29" creationId="{68BEBCDB-FD90-4A91-B9E2-C6A5658CA348}"/>
          </ac:cxnSpMkLst>
        </pc:cxnChg>
        <pc:cxnChg chg="add mod">
          <ac:chgData name="Roussel, Gaetan" userId="269e9c6f-a5fe-49a6-9b6b-1c16ee3e16b1" providerId="ADAL" clId="{A43ED10B-C0D7-409E-AD3F-D6A5AE869F78}" dt="2022-06-28T08:10:36.446" v="9054" actId="1036"/>
          <ac:cxnSpMkLst>
            <pc:docMk/>
            <pc:sldMk cId="3160861075" sldId="279"/>
            <ac:cxnSpMk id="31" creationId="{C83AC834-FBED-471E-BDBD-7E493AE3DBF8}"/>
          </ac:cxnSpMkLst>
        </pc:cxnChg>
      </pc:sldChg>
      <pc:sldChg chg="addSp delSp modSp add mod">
        <pc:chgData name="Roussel, Gaetan" userId="269e9c6f-a5fe-49a6-9b6b-1c16ee3e16b1" providerId="ADAL" clId="{A43ED10B-C0D7-409E-AD3F-D6A5AE869F78}" dt="2022-06-27T18:02:42.101" v="8607" actId="12789"/>
        <pc:sldMkLst>
          <pc:docMk/>
          <pc:sldMk cId="135837128" sldId="280"/>
        </pc:sldMkLst>
        <pc:spChg chg="add mod">
          <ac:chgData name="Roussel, Gaetan" userId="269e9c6f-a5fe-49a6-9b6b-1c16ee3e16b1" providerId="ADAL" clId="{A43ED10B-C0D7-409E-AD3F-D6A5AE869F78}" dt="2022-06-27T18:02:42.101" v="8607" actId="12789"/>
          <ac:spMkLst>
            <pc:docMk/>
            <pc:sldMk cId="135837128" sldId="280"/>
            <ac:spMk id="2" creationId="{517180DA-AF81-4642-ADA3-DA09A2C1F7D0}"/>
          </ac:spMkLst>
        </pc:spChg>
        <pc:spChg chg="del mod">
          <ac:chgData name="Roussel, Gaetan" userId="269e9c6f-a5fe-49a6-9b6b-1c16ee3e16b1" providerId="ADAL" clId="{A43ED10B-C0D7-409E-AD3F-D6A5AE869F78}" dt="2022-06-27T18:02:11.286" v="8584" actId="478"/>
          <ac:spMkLst>
            <pc:docMk/>
            <pc:sldMk cId="135837128" sldId="280"/>
            <ac:spMk id="7" creationId="{8AF5F2BF-846C-47B4-8E5D-391DF2D66889}"/>
          </ac:spMkLst>
        </pc:spChg>
      </pc:sldChg>
      <pc:sldChg chg="addSp delSp modSp new mod modShow">
        <pc:chgData name="Roussel, Gaetan" userId="269e9c6f-a5fe-49a6-9b6b-1c16ee3e16b1" providerId="ADAL" clId="{A43ED10B-C0D7-409E-AD3F-D6A5AE869F78}" dt="2022-06-30T07:23:52.649" v="11169" actId="729"/>
        <pc:sldMkLst>
          <pc:docMk/>
          <pc:sldMk cId="2012851269" sldId="281"/>
        </pc:sldMkLst>
        <pc:spChg chg="del">
          <ac:chgData name="Roussel, Gaetan" userId="269e9c6f-a5fe-49a6-9b6b-1c16ee3e16b1" providerId="ADAL" clId="{A43ED10B-C0D7-409E-AD3F-D6A5AE869F78}" dt="2022-06-27T18:43:18.752" v="8776" actId="478"/>
          <ac:spMkLst>
            <pc:docMk/>
            <pc:sldMk cId="2012851269" sldId="281"/>
            <ac:spMk id="2" creationId="{A4D91ED0-A0E7-43D0-8CEA-1F9BEBA1B002}"/>
          </ac:spMkLst>
        </pc:spChg>
        <pc:spChg chg="del">
          <ac:chgData name="Roussel, Gaetan" userId="269e9c6f-a5fe-49a6-9b6b-1c16ee3e16b1" providerId="ADAL" clId="{A43ED10B-C0D7-409E-AD3F-D6A5AE869F78}" dt="2022-06-27T18:43:19.402" v="8777" actId="478"/>
          <ac:spMkLst>
            <pc:docMk/>
            <pc:sldMk cId="2012851269" sldId="281"/>
            <ac:spMk id="3" creationId="{318CA141-DCE5-4873-9B65-FECAB3CFB8AC}"/>
          </ac:spMkLst>
        </pc:spChg>
        <pc:spChg chg="add mod">
          <ac:chgData name="Roussel, Gaetan" userId="269e9c6f-a5fe-49a6-9b6b-1c16ee3e16b1" providerId="ADAL" clId="{A43ED10B-C0D7-409E-AD3F-D6A5AE869F78}" dt="2022-06-27T19:09:57.121" v="8792" actId="20577"/>
          <ac:spMkLst>
            <pc:docMk/>
            <pc:sldMk cId="2012851269" sldId="281"/>
            <ac:spMk id="4" creationId="{1F370DEE-E1E4-45EA-884E-9DB608BC91CE}"/>
          </ac:spMkLst>
        </pc:spChg>
      </pc:sldChg>
      <pc:sldChg chg="addSp delSp modSp add del mod">
        <pc:chgData name="Roussel, Gaetan" userId="269e9c6f-a5fe-49a6-9b6b-1c16ee3e16b1" providerId="ADAL" clId="{A43ED10B-C0D7-409E-AD3F-D6A5AE869F78}" dt="2022-06-28T19:46:37.024" v="10953" actId="20577"/>
        <pc:sldMkLst>
          <pc:docMk/>
          <pc:sldMk cId="3390074650" sldId="282"/>
        </pc:sldMkLst>
        <pc:spChg chg="add mod">
          <ac:chgData name="Roussel, Gaetan" userId="269e9c6f-a5fe-49a6-9b6b-1c16ee3e16b1" providerId="ADAL" clId="{A43ED10B-C0D7-409E-AD3F-D6A5AE869F78}" dt="2022-06-28T19:41:03.848" v="10878" actId="20577"/>
          <ac:spMkLst>
            <pc:docMk/>
            <pc:sldMk cId="3390074650" sldId="282"/>
            <ac:spMk id="3" creationId="{FC3129E0-8032-4692-BEA4-12E638613BD4}"/>
          </ac:spMkLst>
        </pc:spChg>
        <pc:spChg chg="del mod">
          <ac:chgData name="Roussel, Gaetan" userId="269e9c6f-a5fe-49a6-9b6b-1c16ee3e16b1" providerId="ADAL" clId="{A43ED10B-C0D7-409E-AD3F-D6A5AE869F78}" dt="2022-06-28T19:40:38.112" v="10805" actId="478"/>
          <ac:spMkLst>
            <pc:docMk/>
            <pc:sldMk cId="3390074650" sldId="282"/>
            <ac:spMk id="4" creationId="{1F370DEE-E1E4-45EA-884E-9DB608BC91CE}"/>
          </ac:spMkLst>
        </pc:spChg>
        <pc:spChg chg="add mod">
          <ac:chgData name="Roussel, Gaetan" userId="269e9c6f-a5fe-49a6-9b6b-1c16ee3e16b1" providerId="ADAL" clId="{A43ED10B-C0D7-409E-AD3F-D6A5AE869F78}" dt="2022-06-28T19:46:37.024" v="10953" actId="20577"/>
          <ac:spMkLst>
            <pc:docMk/>
            <pc:sldMk cId="3390074650" sldId="282"/>
            <ac:spMk id="6" creationId="{00F41E67-7E9A-40AC-9255-17ADC0D4A86A}"/>
          </ac:spMkLst>
        </pc:spChg>
        <pc:picChg chg="add mod">
          <ac:chgData name="Roussel, Gaetan" userId="269e9c6f-a5fe-49a6-9b6b-1c16ee3e16b1" providerId="ADAL" clId="{A43ED10B-C0D7-409E-AD3F-D6A5AE869F78}" dt="2022-06-28T19:45:30.384" v="10883" actId="1076"/>
          <ac:picMkLst>
            <pc:docMk/>
            <pc:sldMk cId="3390074650" sldId="282"/>
            <ac:picMk id="5" creationId="{93ED1814-D20F-4ECE-ACCA-2129BF686685}"/>
          </ac:picMkLst>
        </pc:picChg>
      </pc:sldChg>
      <pc:sldChg chg="modSp add mod modShow">
        <pc:chgData name="Roussel, Gaetan" userId="269e9c6f-a5fe-49a6-9b6b-1c16ee3e16b1" providerId="ADAL" clId="{A43ED10B-C0D7-409E-AD3F-D6A5AE869F78}" dt="2022-06-30T07:23:57.405" v="11170" actId="729"/>
        <pc:sldMkLst>
          <pc:docMk/>
          <pc:sldMk cId="3012763726" sldId="283"/>
        </pc:sldMkLst>
        <pc:spChg chg="mod">
          <ac:chgData name="Roussel, Gaetan" userId="269e9c6f-a5fe-49a6-9b6b-1c16ee3e16b1" providerId="ADAL" clId="{A43ED10B-C0D7-409E-AD3F-D6A5AE869F78}" dt="2022-06-27T19:10:42.436" v="8902" actId="20577"/>
          <ac:spMkLst>
            <pc:docMk/>
            <pc:sldMk cId="3012763726" sldId="283"/>
            <ac:spMk id="4" creationId="{1F370DEE-E1E4-45EA-884E-9DB608BC91CE}"/>
          </ac:spMkLst>
        </pc:spChg>
      </pc:sldChg>
      <pc:sldChg chg="addSp delSp modSp add mod modNotesTx">
        <pc:chgData name="Roussel, Gaetan" userId="269e9c6f-a5fe-49a6-9b6b-1c16ee3e16b1" providerId="ADAL" clId="{A43ED10B-C0D7-409E-AD3F-D6A5AE869F78}" dt="2022-06-30T08:45:32.309" v="11509" actId="20577"/>
        <pc:sldMkLst>
          <pc:docMk/>
          <pc:sldMk cId="3903715691" sldId="284"/>
        </pc:sldMkLst>
        <pc:spChg chg="add del mod">
          <ac:chgData name="Roussel, Gaetan" userId="269e9c6f-a5fe-49a6-9b6b-1c16ee3e16b1" providerId="ADAL" clId="{A43ED10B-C0D7-409E-AD3F-D6A5AE869F78}" dt="2022-06-28T18:57:16.903" v="10351" actId="207"/>
          <ac:spMkLst>
            <pc:docMk/>
            <pc:sldMk cId="3903715691" sldId="284"/>
            <ac:spMk id="2" creationId="{CB5A1A39-FEA5-45F0-8A95-1A2DE8823E7B}"/>
          </ac:spMkLst>
        </pc:spChg>
        <pc:spChg chg="mod">
          <ac:chgData name="Roussel, Gaetan" userId="269e9c6f-a5fe-49a6-9b6b-1c16ee3e16b1" providerId="ADAL" clId="{A43ED10B-C0D7-409E-AD3F-D6A5AE869F78}" dt="2022-06-28T19:31:23.464" v="10599" actId="1036"/>
          <ac:spMkLst>
            <pc:docMk/>
            <pc:sldMk cId="3903715691" sldId="284"/>
            <ac:spMk id="3" creationId="{88401CCF-94D9-4737-955E-E43776E155E2}"/>
          </ac:spMkLst>
        </pc:spChg>
        <pc:spChg chg="mod topLvl">
          <ac:chgData name="Roussel, Gaetan" userId="269e9c6f-a5fe-49a6-9b6b-1c16ee3e16b1" providerId="ADAL" clId="{A43ED10B-C0D7-409E-AD3F-D6A5AE869F78}" dt="2022-06-30T08:16:11.019" v="11193" actId="165"/>
          <ac:spMkLst>
            <pc:docMk/>
            <pc:sldMk cId="3903715691" sldId="284"/>
            <ac:spMk id="5" creationId="{81E10ACE-8204-433C-A47C-CE8C4C39D474}"/>
          </ac:spMkLst>
        </pc:spChg>
        <pc:spChg chg="add del mod">
          <ac:chgData name="Roussel, Gaetan" userId="269e9c6f-a5fe-49a6-9b6b-1c16ee3e16b1" providerId="ADAL" clId="{A43ED10B-C0D7-409E-AD3F-D6A5AE869F78}" dt="2022-06-28T18:57:14.022" v="10350" actId="478"/>
          <ac:spMkLst>
            <pc:docMk/>
            <pc:sldMk cId="3903715691" sldId="284"/>
            <ac:spMk id="9" creationId="{04A65D3F-2271-4965-881F-A48C315C87A2}"/>
          </ac:spMkLst>
        </pc:spChg>
        <pc:spChg chg="add mod">
          <ac:chgData name="Roussel, Gaetan" userId="269e9c6f-a5fe-49a6-9b6b-1c16ee3e16b1" providerId="ADAL" clId="{A43ED10B-C0D7-409E-AD3F-D6A5AE869F78}" dt="2022-06-28T19:40:15.781" v="10802" actId="1076"/>
          <ac:spMkLst>
            <pc:docMk/>
            <pc:sldMk cId="3903715691" sldId="284"/>
            <ac:spMk id="10" creationId="{9A8B50FD-28E1-4CA6-AF69-DCF97EC9274E}"/>
          </ac:spMkLst>
        </pc:spChg>
        <pc:spChg chg="add del mod">
          <ac:chgData name="Roussel, Gaetan" userId="269e9c6f-a5fe-49a6-9b6b-1c16ee3e16b1" providerId="ADAL" clId="{A43ED10B-C0D7-409E-AD3F-D6A5AE869F78}" dt="2022-06-29T19:40:42.451" v="11059" actId="478"/>
          <ac:spMkLst>
            <pc:docMk/>
            <pc:sldMk cId="3903715691" sldId="284"/>
            <ac:spMk id="11" creationId="{A374419E-B860-4CFA-ACD6-5A358E340875}"/>
          </ac:spMkLst>
        </pc:spChg>
        <pc:spChg chg="mod">
          <ac:chgData name="Roussel, Gaetan" userId="269e9c6f-a5fe-49a6-9b6b-1c16ee3e16b1" providerId="ADAL" clId="{A43ED10B-C0D7-409E-AD3F-D6A5AE869F78}" dt="2022-06-28T19:31:31.653" v="10608" actId="14100"/>
          <ac:spMkLst>
            <pc:docMk/>
            <pc:sldMk cId="3903715691" sldId="284"/>
            <ac:spMk id="28" creationId="{E99EDF87-C26E-456F-8CA0-799E92485C0E}"/>
          </ac:spMkLst>
        </pc:spChg>
        <pc:spChg chg="mod">
          <ac:chgData name="Roussel, Gaetan" userId="269e9c6f-a5fe-49a6-9b6b-1c16ee3e16b1" providerId="ADAL" clId="{A43ED10B-C0D7-409E-AD3F-D6A5AE869F78}" dt="2022-06-28T19:31:23.464" v="10599" actId="1036"/>
          <ac:spMkLst>
            <pc:docMk/>
            <pc:sldMk cId="3903715691" sldId="284"/>
            <ac:spMk id="40" creationId="{844B5908-9AC0-4195-9F00-5EE952F3306A}"/>
          </ac:spMkLst>
        </pc:spChg>
        <pc:spChg chg="mod">
          <ac:chgData name="Roussel, Gaetan" userId="269e9c6f-a5fe-49a6-9b6b-1c16ee3e16b1" providerId="ADAL" clId="{A43ED10B-C0D7-409E-AD3F-D6A5AE869F78}" dt="2022-06-28T19:31:23.464" v="10599" actId="1036"/>
          <ac:spMkLst>
            <pc:docMk/>
            <pc:sldMk cId="3903715691" sldId="284"/>
            <ac:spMk id="41" creationId="{E4B29BCE-70B4-40BB-A379-CF705E527BBE}"/>
          </ac:spMkLst>
        </pc:spChg>
        <pc:spChg chg="mod">
          <ac:chgData name="Roussel, Gaetan" userId="269e9c6f-a5fe-49a6-9b6b-1c16ee3e16b1" providerId="ADAL" clId="{A43ED10B-C0D7-409E-AD3F-D6A5AE869F78}" dt="2022-06-28T20:27:43.038" v="10960" actId="207"/>
          <ac:spMkLst>
            <pc:docMk/>
            <pc:sldMk cId="3903715691" sldId="284"/>
            <ac:spMk id="43" creationId="{128725B2-8815-4965-B264-1DE4B59AAB64}"/>
          </ac:spMkLst>
        </pc:spChg>
        <pc:spChg chg="mod">
          <ac:chgData name="Roussel, Gaetan" userId="269e9c6f-a5fe-49a6-9b6b-1c16ee3e16b1" providerId="ADAL" clId="{A43ED10B-C0D7-409E-AD3F-D6A5AE869F78}" dt="2022-06-28T20:26:54.719" v="10956" actId="207"/>
          <ac:spMkLst>
            <pc:docMk/>
            <pc:sldMk cId="3903715691" sldId="284"/>
            <ac:spMk id="46" creationId="{0EAB6798-3BEB-4E33-B255-EF43325F5CE9}"/>
          </ac:spMkLst>
        </pc:spChg>
        <pc:spChg chg="mod">
          <ac:chgData name="Roussel, Gaetan" userId="269e9c6f-a5fe-49a6-9b6b-1c16ee3e16b1" providerId="ADAL" clId="{A43ED10B-C0D7-409E-AD3F-D6A5AE869F78}" dt="2022-06-28T18:57:02.121" v="10347" actId="207"/>
          <ac:spMkLst>
            <pc:docMk/>
            <pc:sldMk cId="3903715691" sldId="284"/>
            <ac:spMk id="47" creationId="{28CC0846-ED49-4EF0-A67D-B74AE8BE8815}"/>
          </ac:spMkLst>
        </pc:spChg>
        <pc:spChg chg="mod">
          <ac:chgData name="Roussel, Gaetan" userId="269e9c6f-a5fe-49a6-9b6b-1c16ee3e16b1" providerId="ADAL" clId="{A43ED10B-C0D7-409E-AD3F-D6A5AE869F78}" dt="2022-06-28T20:27:50.097" v="10961" actId="207"/>
          <ac:spMkLst>
            <pc:docMk/>
            <pc:sldMk cId="3903715691" sldId="284"/>
            <ac:spMk id="49" creationId="{3E901F0D-6F34-4E18-A5DC-1AC07CAEEE43}"/>
          </ac:spMkLst>
        </pc:spChg>
        <pc:spChg chg="del">
          <ac:chgData name="Roussel, Gaetan" userId="269e9c6f-a5fe-49a6-9b6b-1c16ee3e16b1" providerId="ADAL" clId="{A43ED10B-C0D7-409E-AD3F-D6A5AE869F78}" dt="2022-06-28T19:31:14.888" v="10568" actId="478"/>
          <ac:spMkLst>
            <pc:docMk/>
            <pc:sldMk cId="3903715691" sldId="284"/>
            <ac:spMk id="65" creationId="{FB383B82-9C04-4E6C-9E6A-638CBAD1B5AA}"/>
          </ac:spMkLst>
        </pc:spChg>
        <pc:spChg chg="mod">
          <ac:chgData name="Roussel, Gaetan" userId="269e9c6f-a5fe-49a6-9b6b-1c16ee3e16b1" providerId="ADAL" clId="{A43ED10B-C0D7-409E-AD3F-D6A5AE869F78}" dt="2022-06-30T08:23:20.648" v="11283" actId="20577"/>
          <ac:spMkLst>
            <pc:docMk/>
            <pc:sldMk cId="3903715691" sldId="284"/>
            <ac:spMk id="69" creationId="{7D878AFE-EC79-40DB-A93E-7FFD0760E57A}"/>
          </ac:spMkLst>
        </pc:spChg>
        <pc:spChg chg="mod">
          <ac:chgData name="Roussel, Gaetan" userId="269e9c6f-a5fe-49a6-9b6b-1c16ee3e16b1" providerId="ADAL" clId="{A43ED10B-C0D7-409E-AD3F-D6A5AE869F78}" dt="2022-06-29T19:41:20.687" v="11084" actId="1582"/>
          <ac:spMkLst>
            <pc:docMk/>
            <pc:sldMk cId="3903715691" sldId="284"/>
            <ac:spMk id="70" creationId="{1BF0588B-39FE-4B6C-BE51-C85698ED3866}"/>
          </ac:spMkLst>
        </pc:spChg>
        <pc:spChg chg="mod">
          <ac:chgData name="Roussel, Gaetan" userId="269e9c6f-a5fe-49a6-9b6b-1c16ee3e16b1" providerId="ADAL" clId="{A43ED10B-C0D7-409E-AD3F-D6A5AE869F78}" dt="2022-06-28T19:31:23.464" v="10599" actId="1036"/>
          <ac:spMkLst>
            <pc:docMk/>
            <pc:sldMk cId="3903715691" sldId="284"/>
            <ac:spMk id="71" creationId="{00F7754D-0952-490B-B928-D8D1C19B1A2B}"/>
          </ac:spMkLst>
        </pc:spChg>
        <pc:spChg chg="mod">
          <ac:chgData name="Roussel, Gaetan" userId="269e9c6f-a5fe-49a6-9b6b-1c16ee3e16b1" providerId="ADAL" clId="{A43ED10B-C0D7-409E-AD3F-D6A5AE869F78}" dt="2022-06-28T19:31:23.464" v="10599" actId="1036"/>
          <ac:spMkLst>
            <pc:docMk/>
            <pc:sldMk cId="3903715691" sldId="284"/>
            <ac:spMk id="72" creationId="{C286552A-A7B0-47C8-BE99-6B893EA2E830}"/>
          </ac:spMkLst>
        </pc:spChg>
        <pc:spChg chg="mod">
          <ac:chgData name="Roussel, Gaetan" userId="269e9c6f-a5fe-49a6-9b6b-1c16ee3e16b1" providerId="ADAL" clId="{A43ED10B-C0D7-409E-AD3F-D6A5AE869F78}" dt="2022-06-28T19:31:23.464" v="10599" actId="1036"/>
          <ac:spMkLst>
            <pc:docMk/>
            <pc:sldMk cId="3903715691" sldId="284"/>
            <ac:spMk id="74" creationId="{8B492C1F-77C2-4137-B428-80674EEF3D6B}"/>
          </ac:spMkLst>
        </pc:spChg>
        <pc:spChg chg="del mod">
          <ac:chgData name="Roussel, Gaetan" userId="269e9c6f-a5fe-49a6-9b6b-1c16ee3e16b1" providerId="ADAL" clId="{A43ED10B-C0D7-409E-AD3F-D6A5AE869F78}" dt="2022-06-28T19:36:52.354" v="10676" actId="478"/>
          <ac:spMkLst>
            <pc:docMk/>
            <pc:sldMk cId="3903715691" sldId="284"/>
            <ac:spMk id="77" creationId="{6E866D23-29F4-4ED3-95D7-BC4F421D81C6}"/>
          </ac:spMkLst>
        </pc:spChg>
        <pc:grpChg chg="del">
          <ac:chgData name="Roussel, Gaetan" userId="269e9c6f-a5fe-49a6-9b6b-1c16ee3e16b1" providerId="ADAL" clId="{A43ED10B-C0D7-409E-AD3F-D6A5AE869F78}" dt="2022-06-30T08:16:11.019" v="11193" actId="165"/>
          <ac:grpSpMkLst>
            <pc:docMk/>
            <pc:sldMk cId="3903715691" sldId="284"/>
            <ac:grpSpMk id="4" creationId="{53882DFE-8A8B-4EA2-8E53-18DC598F9180}"/>
          </ac:grpSpMkLst>
        </pc:grpChg>
        <pc:grpChg chg="mod">
          <ac:chgData name="Roussel, Gaetan" userId="269e9c6f-a5fe-49a6-9b6b-1c16ee3e16b1" providerId="ADAL" clId="{A43ED10B-C0D7-409E-AD3F-D6A5AE869F78}" dt="2022-06-28T19:31:23.464" v="10599" actId="1036"/>
          <ac:grpSpMkLst>
            <pc:docMk/>
            <pc:sldMk cId="3903715691" sldId="284"/>
            <ac:grpSpMk id="42" creationId="{4DB7841D-3F82-4A2F-AC23-8D267D13B361}"/>
          </ac:grpSpMkLst>
        </pc:grpChg>
        <pc:grpChg chg="mod">
          <ac:chgData name="Roussel, Gaetan" userId="269e9c6f-a5fe-49a6-9b6b-1c16ee3e16b1" providerId="ADAL" clId="{A43ED10B-C0D7-409E-AD3F-D6A5AE869F78}" dt="2022-06-28T19:31:23.464" v="10599" actId="1036"/>
          <ac:grpSpMkLst>
            <pc:docMk/>
            <pc:sldMk cId="3903715691" sldId="284"/>
            <ac:grpSpMk id="45" creationId="{4BBFBE85-90C9-4A2A-8815-60DA8580E93D}"/>
          </ac:grpSpMkLst>
        </pc:grpChg>
        <pc:grpChg chg="mod">
          <ac:chgData name="Roussel, Gaetan" userId="269e9c6f-a5fe-49a6-9b6b-1c16ee3e16b1" providerId="ADAL" clId="{A43ED10B-C0D7-409E-AD3F-D6A5AE869F78}" dt="2022-06-28T19:31:23.464" v="10599" actId="1036"/>
          <ac:grpSpMkLst>
            <pc:docMk/>
            <pc:sldMk cId="3903715691" sldId="284"/>
            <ac:grpSpMk id="48" creationId="{843A4B10-1823-43AE-AD07-CED05BF1E17D}"/>
          </ac:grpSpMkLst>
        </pc:grpChg>
        <pc:grpChg chg="del">
          <ac:chgData name="Roussel, Gaetan" userId="269e9c6f-a5fe-49a6-9b6b-1c16ee3e16b1" providerId="ADAL" clId="{A43ED10B-C0D7-409E-AD3F-D6A5AE869F78}" dt="2022-06-28T19:31:16.351" v="10569" actId="478"/>
          <ac:grpSpMkLst>
            <pc:docMk/>
            <pc:sldMk cId="3903715691" sldId="284"/>
            <ac:grpSpMk id="66" creationId="{C230EDBF-5666-45DA-8C8A-BBFF52AAFFEE}"/>
          </ac:grpSpMkLst>
        </pc:grpChg>
        <pc:graphicFrameChg chg="mod">
          <ac:chgData name="Roussel, Gaetan" userId="269e9c6f-a5fe-49a6-9b6b-1c16ee3e16b1" providerId="ADAL" clId="{A43ED10B-C0D7-409E-AD3F-D6A5AE869F78}" dt="2022-06-28T20:28:03.523" v="10962" actId="207"/>
          <ac:graphicFrameMkLst>
            <pc:docMk/>
            <pc:sldMk cId="3903715691" sldId="284"/>
            <ac:graphicFrameMk id="14" creationId="{2CDDFED9-2BC8-443E-8DB6-AF8CB15FAEDA}"/>
          </ac:graphicFrameMkLst>
        </pc:graphicFrameChg>
        <pc:picChg chg="del mod topLvl">
          <ac:chgData name="Roussel, Gaetan" userId="269e9c6f-a5fe-49a6-9b6b-1c16ee3e16b1" providerId="ADAL" clId="{A43ED10B-C0D7-409E-AD3F-D6A5AE869F78}" dt="2022-06-30T08:16:14.021" v="11194" actId="478"/>
          <ac:picMkLst>
            <pc:docMk/>
            <pc:sldMk cId="3903715691" sldId="284"/>
            <ac:picMk id="6" creationId="{47F3CF94-A622-43E9-B30E-55A33040A8F7}"/>
          </ac:picMkLst>
        </pc:picChg>
        <pc:picChg chg="mod topLvl">
          <ac:chgData name="Roussel, Gaetan" userId="269e9c6f-a5fe-49a6-9b6b-1c16ee3e16b1" providerId="ADAL" clId="{A43ED10B-C0D7-409E-AD3F-D6A5AE869F78}" dt="2022-06-30T08:16:11.019" v="11193" actId="165"/>
          <ac:picMkLst>
            <pc:docMk/>
            <pc:sldMk cId="3903715691" sldId="284"/>
            <ac:picMk id="7" creationId="{981A2C2E-67FB-4095-850E-3C58285190B2}"/>
          </ac:picMkLst>
        </pc:picChg>
        <pc:picChg chg="add mod">
          <ac:chgData name="Roussel, Gaetan" userId="269e9c6f-a5fe-49a6-9b6b-1c16ee3e16b1" providerId="ADAL" clId="{A43ED10B-C0D7-409E-AD3F-D6A5AE869F78}" dt="2022-06-30T08:16:14.395" v="11195"/>
          <ac:picMkLst>
            <pc:docMk/>
            <pc:sldMk cId="3903715691" sldId="284"/>
            <ac:picMk id="30" creationId="{2CAF7DBB-9BE7-49EE-ACC8-95E4E660B476}"/>
          </ac:picMkLst>
        </pc:picChg>
        <pc:picChg chg="add mod">
          <ac:chgData name="Roussel, Gaetan" userId="269e9c6f-a5fe-49a6-9b6b-1c16ee3e16b1" providerId="ADAL" clId="{A43ED10B-C0D7-409E-AD3F-D6A5AE869F78}" dt="2022-06-28T19:40:21.591" v="10804" actId="1076"/>
          <ac:picMkLst>
            <pc:docMk/>
            <pc:sldMk cId="3903715691" sldId="284"/>
            <ac:picMk id="6146" creationId="{2F39B71A-7A8B-4FB7-98B0-0DB2A28C8ED7}"/>
          </ac:picMkLst>
        </pc:picChg>
        <pc:cxnChg chg="mod">
          <ac:chgData name="Roussel, Gaetan" userId="269e9c6f-a5fe-49a6-9b6b-1c16ee3e16b1" providerId="ADAL" clId="{A43ED10B-C0D7-409E-AD3F-D6A5AE869F78}" dt="2022-06-28T19:31:23.464" v="10599" actId="1036"/>
          <ac:cxnSpMkLst>
            <pc:docMk/>
            <pc:sldMk cId="3903715691" sldId="284"/>
            <ac:cxnSpMk id="29" creationId="{68BEBCDB-FD90-4A91-B9E2-C6A5658CA348}"/>
          </ac:cxnSpMkLst>
        </pc:cxnChg>
        <pc:cxnChg chg="mod">
          <ac:chgData name="Roussel, Gaetan" userId="269e9c6f-a5fe-49a6-9b6b-1c16ee3e16b1" providerId="ADAL" clId="{A43ED10B-C0D7-409E-AD3F-D6A5AE869F78}" dt="2022-06-28T19:31:23.464" v="10599" actId="1036"/>
          <ac:cxnSpMkLst>
            <pc:docMk/>
            <pc:sldMk cId="3903715691" sldId="284"/>
            <ac:cxnSpMk id="73" creationId="{69991995-CCFB-44A8-9C29-C290EEE48498}"/>
          </ac:cxnSpMkLst>
        </pc:cxnChg>
      </pc:sldChg>
      <pc:sldChg chg="add del">
        <pc:chgData name="Roussel, Gaetan" userId="269e9c6f-a5fe-49a6-9b6b-1c16ee3e16b1" providerId="ADAL" clId="{A43ED10B-C0D7-409E-AD3F-D6A5AE869F78}" dt="2022-06-26T12:50:54.858" v="4869" actId="47"/>
        <pc:sldMkLst>
          <pc:docMk/>
          <pc:sldMk cId="2920904358" sldId="1829"/>
        </pc:sldMkLst>
      </pc:sldChg>
      <pc:sldMasterChg chg="delSldLayout">
        <pc:chgData name="Roussel, Gaetan" userId="269e9c6f-a5fe-49a6-9b6b-1c16ee3e16b1" providerId="ADAL" clId="{A43ED10B-C0D7-409E-AD3F-D6A5AE869F78}" dt="2022-06-26T12:50:54.858" v="4869" actId="47"/>
        <pc:sldMasterMkLst>
          <pc:docMk/>
          <pc:sldMasterMk cId="1956204862" sldId="2147483697"/>
        </pc:sldMasterMkLst>
        <pc:sldLayoutChg chg="del">
          <pc:chgData name="Roussel, Gaetan" userId="269e9c6f-a5fe-49a6-9b6b-1c16ee3e16b1" providerId="ADAL" clId="{A43ED10B-C0D7-409E-AD3F-D6A5AE869F78}" dt="2022-06-26T12:50:54.858" v="4869" actId="47"/>
          <pc:sldLayoutMkLst>
            <pc:docMk/>
            <pc:sldMasterMk cId="1956204862" sldId="2147483697"/>
            <pc:sldLayoutMk cId="2625310012" sldId="214748373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49482285088785377"/>
          <c:y val="2.3685001130280391E-2"/>
          <c:w val="0.50354458063879615"/>
          <c:h val="0.59602506645494158"/>
        </c:manualLayout>
      </c:layout>
      <c:pieChart>
        <c:varyColors val="1"/>
        <c:ser>
          <c:idx val="0"/>
          <c:order val="0"/>
          <c:tx>
            <c:strRef>
              <c:f>Sheet1!$B$1</c:f>
              <c:strCache>
                <c:ptCount val="1"/>
                <c:pt idx="0">
                  <c:v>Sales</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1-B7A5-4398-B81E-090E6F1B0FDE}"/>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B7A5-4398-B81E-090E6F1B0FDE}"/>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B7A5-4398-B81E-090E6F1B0FDE}"/>
              </c:ext>
            </c:extLst>
          </c:dPt>
          <c:dPt>
            <c:idx val="3"/>
            <c:bubble3D val="0"/>
            <c:spPr>
              <a:solidFill>
                <a:schemeClr val="accent2"/>
              </a:solidFill>
              <a:ln w="19050">
                <a:solidFill>
                  <a:schemeClr val="lt1"/>
                </a:solidFill>
              </a:ln>
              <a:effectLst/>
            </c:spPr>
            <c:extLst>
              <c:ext xmlns:c16="http://schemas.microsoft.com/office/drawing/2014/chart" uri="{C3380CC4-5D6E-409C-BE32-E72D297353CC}">
                <c16:uniqueId val="{00000007-B7A5-4398-B81E-090E6F1B0FD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Should be created for AD</c:v>
                </c:pt>
                <c:pt idx="1">
                  <c:v>Already covers AD needs</c:v>
                </c:pt>
                <c:pt idx="2">
                  <c:v>Non applicable to AD</c:v>
                </c:pt>
              </c:strCache>
            </c:strRef>
          </c:cat>
          <c:val>
            <c:numRef>
              <c:f>Sheet1!$B$2:$B$5</c:f>
              <c:numCache>
                <c:formatCode>General</c:formatCode>
                <c:ptCount val="4"/>
                <c:pt idx="0">
                  <c:v>21</c:v>
                </c:pt>
                <c:pt idx="1">
                  <c:v>27</c:v>
                </c:pt>
                <c:pt idx="2">
                  <c:v>13</c:v>
                </c:pt>
              </c:numCache>
            </c:numRef>
          </c:val>
          <c:extLst>
            <c:ext xmlns:c16="http://schemas.microsoft.com/office/drawing/2014/chart" uri="{C3380CC4-5D6E-409C-BE32-E72D297353CC}">
              <c16:uniqueId val="{00000008-B7A5-4398-B81E-090E6F1B0FD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9D76C9-B532-4FA6-B194-FFDF00EBCE0D}" type="datetimeFigureOut">
              <a:rPr lang="fr-FR" smtClean="0"/>
              <a:t>30/08/2022</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7CBE99-35BB-45CD-A058-1A1132E1FAE4}" type="slidenum">
              <a:rPr lang="fr-FR" smtClean="0"/>
              <a:t>‹N°›</a:t>
            </a:fld>
            <a:endParaRPr lang="fr-FR" dirty="0"/>
          </a:p>
        </p:txBody>
      </p:sp>
    </p:spTree>
    <p:extLst>
      <p:ext uri="{BB962C8B-B14F-4D97-AF65-F5344CB8AC3E}">
        <p14:creationId xmlns:p14="http://schemas.microsoft.com/office/powerpoint/2010/main" val="1541613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7CBE99-35BB-45CD-A058-1A1132E1FAE4}" type="slidenum">
              <a:rPr lang="fr-FR" smtClean="0"/>
              <a:t>6</a:t>
            </a:fld>
            <a:endParaRPr lang="fr-FR" dirty="0"/>
          </a:p>
        </p:txBody>
      </p:sp>
    </p:spTree>
    <p:extLst>
      <p:ext uri="{BB962C8B-B14F-4D97-AF65-F5344CB8AC3E}">
        <p14:creationId xmlns:p14="http://schemas.microsoft.com/office/powerpoint/2010/main" val="1724940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7CBE99-35BB-45CD-A058-1A1132E1FAE4}" type="slidenum">
              <a:rPr lang="fr-FR" smtClean="0"/>
              <a:t>9</a:t>
            </a:fld>
            <a:endParaRPr lang="fr-FR" dirty="0"/>
          </a:p>
        </p:txBody>
      </p:sp>
    </p:spTree>
    <p:extLst>
      <p:ext uri="{BB962C8B-B14F-4D97-AF65-F5344CB8AC3E}">
        <p14:creationId xmlns:p14="http://schemas.microsoft.com/office/powerpoint/2010/main" val="2153309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7CBE99-35BB-45CD-A058-1A1132E1FAE4}" type="slidenum">
              <a:rPr lang="fr-FR" smtClean="0"/>
              <a:t>11</a:t>
            </a:fld>
            <a:endParaRPr lang="fr-FR" dirty="0"/>
          </a:p>
        </p:txBody>
      </p:sp>
    </p:spTree>
    <p:extLst>
      <p:ext uri="{BB962C8B-B14F-4D97-AF65-F5344CB8AC3E}">
        <p14:creationId xmlns:p14="http://schemas.microsoft.com/office/powerpoint/2010/main" val="1253439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7CBE99-35BB-45CD-A058-1A1132E1FAE4}" type="slidenum">
              <a:rPr lang="fr-FR" smtClean="0"/>
              <a:t>15</a:t>
            </a:fld>
            <a:endParaRPr lang="fr-FR" dirty="0"/>
          </a:p>
        </p:txBody>
      </p:sp>
    </p:spTree>
    <p:extLst>
      <p:ext uri="{BB962C8B-B14F-4D97-AF65-F5344CB8AC3E}">
        <p14:creationId xmlns:p14="http://schemas.microsoft.com/office/powerpoint/2010/main" val="13615483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01651" y="6305178"/>
            <a:ext cx="4638788" cy="298450"/>
          </a:xfrm>
          <a:prstGeom prst="rect">
            <a:avLst/>
          </a:prstGeom>
        </p:spPr>
        <p:txBody>
          <a:bodyPr anchor="b">
            <a:normAutofit/>
          </a:bodyPr>
          <a:lstStyle>
            <a:lvl1pPr>
              <a:spcAft>
                <a:spcPts val="0"/>
              </a:spcAft>
              <a:defRPr sz="127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5E07D16A-6EF9-4DE2-8458-2CDCD04B4FB7}"/>
              </a:ext>
            </a:extLst>
          </p:cNvPr>
          <p:cNvGrpSpPr>
            <a:grpSpLocks noChangeAspect="1"/>
          </p:cNvGrpSpPr>
          <p:nvPr/>
        </p:nvGrpSpPr>
        <p:grpSpPr>
          <a:xfrm>
            <a:off x="431028" y="342914"/>
            <a:ext cx="2293942" cy="346941"/>
            <a:chOff x="398463" y="404813"/>
            <a:chExt cx="1627187" cy="307976"/>
          </a:xfrm>
          <a:solidFill>
            <a:schemeClr val="tx1"/>
          </a:solidFill>
        </p:grpSpPr>
        <p:sp>
          <p:nvSpPr>
            <p:cNvPr id="17" name="Oval 5">
              <a:extLst>
                <a:ext uri="{FF2B5EF4-FFF2-40B4-BE49-F238E27FC236}">
                  <a16:creationId xmlns:a16="http://schemas.microsoft.com/office/drawing/2014/main" id="{DBFCB953-B9BF-42B6-847B-DA23856B80E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18" name="Freeform 6">
              <a:extLst>
                <a:ext uri="{FF2B5EF4-FFF2-40B4-BE49-F238E27FC236}">
                  <a16:creationId xmlns:a16="http://schemas.microsoft.com/office/drawing/2014/main" id="{48767813-7AB9-4998-B464-A4AC6C31A84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19" name="Rectangle 7">
              <a:extLst>
                <a:ext uri="{FF2B5EF4-FFF2-40B4-BE49-F238E27FC236}">
                  <a16:creationId xmlns:a16="http://schemas.microsoft.com/office/drawing/2014/main" id="{A7DAAE69-D146-4D67-88B8-32ACAE7E077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20" name="Freeform 8">
              <a:extLst>
                <a:ext uri="{FF2B5EF4-FFF2-40B4-BE49-F238E27FC236}">
                  <a16:creationId xmlns:a16="http://schemas.microsoft.com/office/drawing/2014/main" id="{B2C81ABB-614A-4158-90C3-6B9A9EDFEF3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21" name="Rectangle 9">
              <a:extLst>
                <a:ext uri="{FF2B5EF4-FFF2-40B4-BE49-F238E27FC236}">
                  <a16:creationId xmlns:a16="http://schemas.microsoft.com/office/drawing/2014/main" id="{A7FFBEDC-B93A-4D88-A4EB-561BFE7147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3" name="Rectangle 10">
              <a:extLst>
                <a:ext uri="{FF2B5EF4-FFF2-40B4-BE49-F238E27FC236}">
                  <a16:creationId xmlns:a16="http://schemas.microsoft.com/office/drawing/2014/main" id="{CE965120-5A18-4554-9C08-5048DD7AA3C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4" name="Freeform 11">
              <a:extLst>
                <a:ext uri="{FF2B5EF4-FFF2-40B4-BE49-F238E27FC236}">
                  <a16:creationId xmlns:a16="http://schemas.microsoft.com/office/drawing/2014/main" id="{98C14172-DEE9-4DDF-92DB-A29732936F3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5" name="Freeform 12">
              <a:extLst>
                <a:ext uri="{FF2B5EF4-FFF2-40B4-BE49-F238E27FC236}">
                  <a16:creationId xmlns:a16="http://schemas.microsoft.com/office/drawing/2014/main" id="{34F70600-8B84-4A87-BE16-AA91153002D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6" name="Freeform 13">
              <a:extLst>
                <a:ext uri="{FF2B5EF4-FFF2-40B4-BE49-F238E27FC236}">
                  <a16:creationId xmlns:a16="http://schemas.microsoft.com/office/drawing/2014/main" id="{77E53793-82E1-4677-AD8A-89E69EBD489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7" name="Freeform 14">
              <a:extLst>
                <a:ext uri="{FF2B5EF4-FFF2-40B4-BE49-F238E27FC236}">
                  <a16:creationId xmlns:a16="http://schemas.microsoft.com/office/drawing/2014/main" id="{69403603-4F0F-46EE-830C-6F2DAD24372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grpSp>
      <p:sp>
        <p:nvSpPr>
          <p:cNvPr id="22" name="Footer Placeholder 8">
            <a:extLst>
              <a:ext uri="{FF2B5EF4-FFF2-40B4-BE49-F238E27FC236}">
                <a16:creationId xmlns:a16="http://schemas.microsoft.com/office/drawing/2014/main" id="{B32B4E7A-2416-4BCF-B3C9-B240316411DB}"/>
              </a:ext>
            </a:extLst>
          </p:cNvPr>
          <p:cNvSpPr>
            <a:spLocks noGrp="1"/>
          </p:cNvSpPr>
          <p:nvPr>
            <p:ph type="ftr" sz="quarter" idx="3"/>
          </p:nvPr>
        </p:nvSpPr>
        <p:spPr>
          <a:xfrm>
            <a:off x="6335183" y="6477985"/>
            <a:ext cx="5355169" cy="125547"/>
          </a:xfrm>
          <a:prstGeom prst="rect">
            <a:avLst/>
          </a:prstGeom>
          <a:noFill/>
        </p:spPr>
        <p:txBody>
          <a:bodyPr wrap="square" lIns="0" tIns="0" rIns="0" bIns="0" rtlCol="0">
            <a:spAutoFit/>
          </a:bodyPr>
          <a:lstStyle>
            <a:lvl1pPr algn="r">
              <a:defRPr lang="fr-FR" sz="816">
                <a:latin typeface="Calibri" panose="020F0502020204030204" pitchFamily="34" charset="0"/>
                <a:cs typeface="Calibri" panose="020F0502020204030204" pitchFamily="34" charset="0"/>
              </a:defRPr>
            </a:lvl1pPr>
          </a:lstStyle>
          <a:p>
            <a:endParaRPr lang="fr-FR" dirty="0"/>
          </a:p>
        </p:txBody>
      </p:sp>
      <p:sp>
        <p:nvSpPr>
          <p:cNvPr id="23" name="Picture Placeholder 8">
            <a:extLst>
              <a:ext uri="{FF2B5EF4-FFF2-40B4-BE49-F238E27FC236}">
                <a16:creationId xmlns:a16="http://schemas.microsoft.com/office/drawing/2014/main" id="{3CE753AD-9021-4CE6-976E-DF080DA2BFF9}"/>
              </a:ext>
            </a:extLst>
          </p:cNvPr>
          <p:cNvSpPr>
            <a:spLocks noGrp="1" noChangeAspect="1"/>
          </p:cNvSpPr>
          <p:nvPr>
            <p:ph type="pic" sz="quarter" idx="11"/>
          </p:nvPr>
        </p:nvSpPr>
        <p:spPr>
          <a:xfrm>
            <a:off x="3065599" y="1055223"/>
            <a:ext cx="6080516" cy="4560387"/>
          </a:xfrm>
          <a:prstGeom prst="rect">
            <a:avLst/>
          </a:prstGeom>
        </p:spPr>
        <p:txBody>
          <a:bodyPr/>
          <a:lstStyle>
            <a:lvl1pPr>
              <a:defRPr>
                <a:solidFill>
                  <a:schemeClr val="tx1"/>
                </a:solidFill>
              </a:defRPr>
            </a:lvl1pPr>
          </a:lstStyle>
          <a:p>
            <a:r>
              <a:rPr lang="en-US" noProof="0" dirty="0"/>
              <a:t>Click icon to add picture</a:t>
            </a:r>
          </a:p>
        </p:txBody>
      </p:sp>
      <p:sp>
        <p:nvSpPr>
          <p:cNvPr id="24" name="Text Placeholder 5">
            <a:extLst>
              <a:ext uri="{FF2B5EF4-FFF2-40B4-BE49-F238E27FC236}">
                <a16:creationId xmlns:a16="http://schemas.microsoft.com/office/drawing/2014/main" id="{10ADFAC3-828D-4F23-BD95-63BA183A9D65}"/>
              </a:ext>
            </a:extLst>
          </p:cNvPr>
          <p:cNvSpPr>
            <a:spLocks noGrp="1"/>
          </p:cNvSpPr>
          <p:nvPr>
            <p:ph type="body" sz="quarter" idx="13" hasCustomPrompt="1"/>
          </p:nvPr>
        </p:nvSpPr>
        <p:spPr>
          <a:xfrm>
            <a:off x="6335183" y="5247217"/>
            <a:ext cx="4105122" cy="904642"/>
          </a:xfrm>
        </p:spPr>
        <p:txBody>
          <a:bodyPr anchor="b">
            <a:noAutofit/>
          </a:bodyPr>
          <a:lstStyle>
            <a:lvl1pPr>
              <a:spcAft>
                <a:spcPts val="544"/>
              </a:spcAft>
              <a:defRPr sz="907" b="0">
                <a:solidFill>
                  <a:schemeClr val="tx1"/>
                </a:solidFill>
              </a:defRPr>
            </a:lvl1pPr>
            <a:lvl2pPr marL="155539" indent="-155539">
              <a:spcAft>
                <a:spcPts val="544"/>
              </a:spcAft>
              <a:buFont typeface="Arial" panose="020B0604020202020204" pitchFamily="34" charset="0"/>
              <a:buChar char="•"/>
              <a:defRPr sz="907" b="0">
                <a:solidFill>
                  <a:schemeClr val="bg1"/>
                </a:solidFill>
              </a:defRPr>
            </a:lvl2pPr>
            <a:lvl3pPr>
              <a:spcAft>
                <a:spcPts val="544"/>
              </a:spcAft>
              <a:defRPr sz="907">
                <a:solidFill>
                  <a:schemeClr val="bg1"/>
                </a:solidFill>
              </a:defRPr>
            </a:lvl3pPr>
            <a:lvl4pPr>
              <a:spcAft>
                <a:spcPts val="544"/>
              </a:spcAft>
              <a:defRPr sz="907">
                <a:solidFill>
                  <a:schemeClr val="bg1"/>
                </a:solidFill>
              </a:defRPr>
            </a:lvl4pPr>
            <a:lvl5pPr>
              <a:spcAft>
                <a:spcPts val="544"/>
              </a:spcAft>
              <a:defRPr sz="907">
                <a:solidFill>
                  <a:schemeClr val="bg1"/>
                </a:solidFill>
              </a:defRPr>
            </a:lvl5pPr>
          </a:lstStyle>
          <a:p>
            <a:r>
              <a:rPr lang="fr-FR" dirty="0"/>
              <a:t>Destinataire(s): [Ajouter les NOM Prénom, ou organisme]</a:t>
            </a:r>
          </a:p>
        </p:txBody>
      </p:sp>
      <p:sp>
        <p:nvSpPr>
          <p:cNvPr id="26" name="Title 3">
            <a:extLst>
              <a:ext uri="{FF2B5EF4-FFF2-40B4-BE49-F238E27FC236}">
                <a16:creationId xmlns:a16="http://schemas.microsoft.com/office/drawing/2014/main" id="{255BF450-B48F-49C0-8E9F-04D50570BAE7}"/>
              </a:ext>
            </a:extLst>
          </p:cNvPr>
          <p:cNvSpPr>
            <a:spLocks noGrp="1"/>
          </p:cNvSpPr>
          <p:nvPr>
            <p:ph type="title"/>
          </p:nvPr>
        </p:nvSpPr>
        <p:spPr>
          <a:xfrm>
            <a:off x="501653" y="5247216"/>
            <a:ext cx="4638788" cy="904642"/>
          </a:xfrm>
        </p:spPr>
        <p:txBody>
          <a:bodyPr anchor="b"/>
          <a:lstStyle>
            <a:lvl1pPr>
              <a:defRPr sz="2540" b="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fr-FR" dirty="0"/>
          </a:p>
        </p:txBody>
      </p:sp>
      <p:pic>
        <p:nvPicPr>
          <p:cNvPr id="27" name="Picture 26">
            <a:extLst>
              <a:ext uri="{FF2B5EF4-FFF2-40B4-BE49-F238E27FC236}">
                <a16:creationId xmlns:a16="http://schemas.microsoft.com/office/drawing/2014/main" id="{359138ED-0968-4032-A810-5D84ED6F3BD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0509113" y="5453977"/>
            <a:ext cx="1367097" cy="1087602"/>
          </a:xfrm>
          <a:prstGeom prst="rect">
            <a:avLst/>
          </a:prstGeom>
        </p:spPr>
      </p:pic>
    </p:spTree>
    <p:extLst>
      <p:ext uri="{BB962C8B-B14F-4D97-AF65-F5344CB8AC3E}">
        <p14:creationId xmlns:p14="http://schemas.microsoft.com/office/powerpoint/2010/main" val="29166380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50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0" y="1665290"/>
            <a:ext cx="9277349" cy="4716463"/>
          </a:xfrm>
          <a:prstGeom prst="rect">
            <a:avLst/>
          </a:prstGeom>
        </p:spPr>
        <p:txBody>
          <a:bodyPr/>
          <a:lstStyle>
            <a:lvl1pPr>
              <a:tabLst>
                <a:tab pos="7868754" algn="r"/>
              </a:tabLst>
              <a:defRPr>
                <a:latin typeface="+mn-lt"/>
              </a:defRPr>
            </a:lvl1pPr>
            <a:lvl2pPr>
              <a:tabLst>
                <a:tab pos="7868754" algn="r"/>
              </a:tabLst>
              <a:defRPr>
                <a:latin typeface="+mj-lt"/>
              </a:defRPr>
            </a:lvl2pPr>
            <a:lvl3pPr>
              <a:tabLst>
                <a:tab pos="7868754" algn="r"/>
              </a:tabLst>
              <a:defRPr>
                <a:latin typeface="+mn-lt"/>
              </a:defRPr>
            </a:lvl3pPr>
            <a:lvl4pPr>
              <a:tabLst>
                <a:tab pos="7868754" algn="r"/>
              </a:tabLst>
              <a:defRPr>
                <a:latin typeface="+mn-lt"/>
              </a:defRPr>
            </a:lvl4pPr>
            <a:lvl5pPr>
              <a:tabLst>
                <a:tab pos="5880683" algn="r"/>
              </a:tabLst>
              <a:defRPr baseline="0">
                <a:latin typeface="+mn-lt"/>
              </a:defRPr>
            </a:lvl5pPr>
            <a:lvl6pPr>
              <a:tabLst>
                <a:tab pos="7868754" algn="r"/>
              </a:tabLst>
              <a:defRPr/>
            </a:lvl6pPr>
            <a:lvl7pPr>
              <a:tabLst>
                <a:tab pos="7868754" algn="r"/>
              </a:tabLst>
              <a:defRPr/>
            </a:lvl7pPr>
            <a:lvl8pPr>
              <a:tabLst>
                <a:tab pos="7868754" algn="r"/>
              </a:tabLst>
              <a:defRPr/>
            </a:lvl8pPr>
            <a:lvl9pPr>
              <a:tabLst>
                <a:tab pos="7868754"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49" y="290335"/>
            <a:ext cx="11180232"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9" name="Date Placeholder 7">
            <a:extLst>
              <a:ext uri="{FF2B5EF4-FFF2-40B4-BE49-F238E27FC236}">
                <a16:creationId xmlns:a16="http://schemas.microsoft.com/office/drawing/2014/main" id="{0F9BE5D8-B03E-49A0-9138-7092C9D20BEB}"/>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0" name="Footer Placeholder 8">
            <a:extLst>
              <a:ext uri="{FF2B5EF4-FFF2-40B4-BE49-F238E27FC236}">
                <a16:creationId xmlns:a16="http://schemas.microsoft.com/office/drawing/2014/main" id="{D650288F-6B2A-4410-B558-D205D601A0B7}"/>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1" name="Slide Number Placeholder 9">
            <a:extLst>
              <a:ext uri="{FF2B5EF4-FFF2-40B4-BE49-F238E27FC236}">
                <a16:creationId xmlns:a16="http://schemas.microsoft.com/office/drawing/2014/main" id="{F9465B3A-0C43-4654-AC18-4CD147548662}"/>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427984761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49" y="290335"/>
            <a:ext cx="11188700" cy="307130"/>
          </a:xfrm>
          <a:prstGeom prst="rect">
            <a:avLst/>
          </a:prstGeom>
        </p:spPr>
        <p:txBody>
          <a:bodyPr vert="horz" lIns="0" tIns="0" rIns="0" bIns="0" rtlCol="0" anchor="t" anchorCtr="0">
            <a:sp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0"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49" y="1665290"/>
            <a:ext cx="4456430" cy="4716463"/>
          </a:xfrm>
          <a:prstGeom prst="rect">
            <a:avLst/>
          </a:prstGeom>
        </p:spPr>
        <p:txBody>
          <a:bodyPr/>
          <a:lstStyle>
            <a:lvl1pPr>
              <a:tabLst>
                <a:tab pos="5880683" algn="r"/>
              </a:tabLst>
              <a:defRPr>
                <a:latin typeface="+mn-lt"/>
              </a:defRPr>
            </a:lvl1pPr>
            <a:lvl2pPr>
              <a:tabLst>
                <a:tab pos="5880683" algn="r"/>
              </a:tabLst>
              <a:defRPr>
                <a:latin typeface="+mj-lt"/>
              </a:defRPr>
            </a:lvl2pPr>
            <a:lvl3pPr>
              <a:tabLst>
                <a:tab pos="5880683" algn="r"/>
              </a:tabLst>
              <a:defRPr>
                <a:latin typeface="+mn-lt"/>
              </a:defRPr>
            </a:lvl3pPr>
            <a:lvl4pPr>
              <a:tabLst>
                <a:tab pos="5880683" algn="r"/>
              </a:tabLst>
              <a:defRPr>
                <a:latin typeface="+mn-lt"/>
              </a:defRPr>
            </a:lvl4pPr>
            <a:lvl5pPr>
              <a:tabLst>
                <a:tab pos="5880683"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Date Placeholder 7">
            <a:extLst>
              <a:ext uri="{FF2B5EF4-FFF2-40B4-BE49-F238E27FC236}">
                <a16:creationId xmlns:a16="http://schemas.microsoft.com/office/drawing/2014/main" id="{4CB9361A-00E4-41C6-AC03-EC1904D56219}"/>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2" name="Footer Placeholder 8">
            <a:extLst>
              <a:ext uri="{FF2B5EF4-FFF2-40B4-BE49-F238E27FC236}">
                <a16:creationId xmlns:a16="http://schemas.microsoft.com/office/drawing/2014/main" id="{F82CA36D-F772-4443-B7DC-D12351666980}"/>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3" name="Slide Number Placeholder 9">
            <a:extLst>
              <a:ext uri="{FF2B5EF4-FFF2-40B4-BE49-F238E27FC236}">
                <a16:creationId xmlns:a16="http://schemas.microsoft.com/office/drawing/2014/main" id="{EDFB9643-54B4-4F88-BDC5-F33675EEF78D}"/>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35338871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49" y="290335"/>
            <a:ext cx="11188700" cy="307130"/>
          </a:xfrm>
        </p:spPr>
        <p:txBody>
          <a:bodyPr>
            <a:spAutoFit/>
          </a:bodyPr>
          <a:lstStyle/>
          <a:p>
            <a:r>
              <a:rPr lang="en-US"/>
              <a:t>Click to edit Master title style</a:t>
            </a:r>
            <a:endParaRPr lang="en-US" dirty="0"/>
          </a:p>
        </p:txBody>
      </p:sp>
      <p:sp>
        <p:nvSpPr>
          <p:cNvPr id="14" name="Text Placeholder 18"/>
          <p:cNvSpPr>
            <a:spLocks noGrp="1"/>
          </p:cNvSpPr>
          <p:nvPr>
            <p:ph idx="1"/>
          </p:nvPr>
        </p:nvSpPr>
        <p:spPr>
          <a:xfrm>
            <a:off x="501650" y="1665290"/>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7">
            <a:extLst>
              <a:ext uri="{FF2B5EF4-FFF2-40B4-BE49-F238E27FC236}">
                <a16:creationId xmlns:a16="http://schemas.microsoft.com/office/drawing/2014/main" id="{954A5705-7C03-4097-8784-E61EAC697913}"/>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8" name="Footer Placeholder 8">
            <a:extLst>
              <a:ext uri="{FF2B5EF4-FFF2-40B4-BE49-F238E27FC236}">
                <a16:creationId xmlns:a16="http://schemas.microsoft.com/office/drawing/2014/main" id="{CC7F319D-F0C3-46E0-B165-4015EA3A177E}"/>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9" name="Slide Number Placeholder 9">
            <a:extLst>
              <a:ext uri="{FF2B5EF4-FFF2-40B4-BE49-F238E27FC236}">
                <a16:creationId xmlns:a16="http://schemas.microsoft.com/office/drawing/2014/main" id="{65C72B26-E5A7-4CB8-A69C-EC46052018A5}"/>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258435951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49" y="588965"/>
            <a:ext cx="11162350"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49" y="290335"/>
            <a:ext cx="11162350" cy="307130"/>
          </a:xfrm>
          <a:prstGeom prst="rect">
            <a:avLst/>
          </a:prstGeom>
        </p:spPr>
        <p:txBody>
          <a:bodyPr vert="horz" lIns="0" tIns="0" rIns="0" bIns="0" rtlCol="0" anchor="t" anchorCtr="0">
            <a:sp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0" y="1700213"/>
            <a:ext cx="11165416" cy="4678986"/>
          </a:xfrm>
          <a:prstGeom prst="rect">
            <a:avLst/>
          </a:prstGeom>
        </p:spPr>
        <p:txBody>
          <a:bodyPr vert="horz" lIns="0" tIns="0" rIns="0" bIns="0" rtlCol="0">
            <a:normAutofit/>
          </a:bodyPr>
          <a:lstStyle>
            <a:lvl1pPr>
              <a:defRPr sz="1270"/>
            </a:lvl1pPr>
            <a:lvl2pPr>
              <a:defRPr sz="1270"/>
            </a:lvl2pPr>
            <a:lvl3pPr>
              <a:defRPr sz="1270"/>
            </a:lvl3pPr>
            <a:lvl4pPr>
              <a:defRPr sz="1270"/>
            </a:lvl4pPr>
            <a:lvl5pPr>
              <a:defRPr sz="127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Date Placeholder 7">
            <a:extLst>
              <a:ext uri="{FF2B5EF4-FFF2-40B4-BE49-F238E27FC236}">
                <a16:creationId xmlns:a16="http://schemas.microsoft.com/office/drawing/2014/main" id="{472C0370-6559-492D-84D1-56D82FAE371C}"/>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1" name="Footer Placeholder 8">
            <a:extLst>
              <a:ext uri="{FF2B5EF4-FFF2-40B4-BE49-F238E27FC236}">
                <a16:creationId xmlns:a16="http://schemas.microsoft.com/office/drawing/2014/main" id="{2DCF9C5B-A919-40F2-B822-537C1D83E985}"/>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2" name="Slide Number Placeholder 9">
            <a:extLst>
              <a:ext uri="{FF2B5EF4-FFF2-40B4-BE49-F238E27FC236}">
                <a16:creationId xmlns:a16="http://schemas.microsoft.com/office/drawing/2014/main" id="{F74D121A-9310-4C8E-81EE-EF8FC74822E8}"/>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24682642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49" y="588965"/>
            <a:ext cx="11162350" cy="757255"/>
          </a:xfrm>
          <a:prstGeom prst="rect">
            <a:avLst/>
          </a:prstGeom>
        </p:spPr>
        <p:txBody>
          <a:bodyPr lIns="0" tIns="0" rIns="0" bIns="0">
            <a:noAutofit/>
          </a:bodyPr>
          <a:lstStyle>
            <a:lvl1pPr marL="0" indent="0">
              <a:buNone/>
              <a:defRPr sz="1996"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49" y="290335"/>
            <a:ext cx="11162350" cy="307130"/>
          </a:xfrm>
          <a:prstGeom prst="rect">
            <a:avLst/>
          </a:prstGeom>
        </p:spPr>
        <p:txBody>
          <a:bodyPr vert="horz" lIns="0" tIns="0" rIns="0" bIns="0" rtlCol="0" anchor="t" anchorCtr="0">
            <a:sp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0" y="1700213"/>
            <a:ext cx="11165416" cy="4678986"/>
          </a:xfrm>
          <a:prstGeom prst="rect">
            <a:avLst/>
          </a:prstGeom>
        </p:spPr>
        <p:txBody>
          <a:bodyPr vert="horz" lIns="0" tIns="0" rIns="0" bIns="0" rtlCol="0">
            <a:normAutofit/>
          </a:bodyPr>
          <a:lstStyle>
            <a:lvl1pPr>
              <a:defRPr sz="1452"/>
            </a:lvl1pPr>
            <a:lvl2pPr>
              <a:defRPr sz="1452"/>
            </a:lvl2pPr>
            <a:lvl3pPr>
              <a:defRPr sz="1452"/>
            </a:lvl3pPr>
            <a:lvl4pPr>
              <a:defRPr sz="1452"/>
            </a:lvl4pPr>
            <a:lvl5pPr>
              <a:defRPr sz="1452"/>
            </a:lvl5pPr>
            <a:lvl6pPr>
              <a:defRPr sz="1871"/>
            </a:lvl6pPr>
            <a:lvl7pPr>
              <a:defRPr sz="1871"/>
            </a:lvl7pPr>
            <a:lvl8pPr>
              <a:defRPr sz="1871"/>
            </a:lvl8pPr>
            <a:lvl9pPr>
              <a:defRPr sz="1871"/>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Date Placeholder 7">
            <a:extLst>
              <a:ext uri="{FF2B5EF4-FFF2-40B4-BE49-F238E27FC236}">
                <a16:creationId xmlns:a16="http://schemas.microsoft.com/office/drawing/2014/main" id="{37C34959-DC6D-4FDE-BCFB-481E19704263}"/>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1" name="Footer Placeholder 8">
            <a:extLst>
              <a:ext uri="{FF2B5EF4-FFF2-40B4-BE49-F238E27FC236}">
                <a16:creationId xmlns:a16="http://schemas.microsoft.com/office/drawing/2014/main" id="{2D56BAA8-A077-444B-BBF3-4F9DE05561B1}"/>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2" name="Slide Number Placeholder 9">
            <a:extLst>
              <a:ext uri="{FF2B5EF4-FFF2-40B4-BE49-F238E27FC236}">
                <a16:creationId xmlns:a16="http://schemas.microsoft.com/office/drawing/2014/main" id="{EBAB6C61-715B-4D63-8E28-C90BC7FB8622}"/>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347753716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49" y="588965"/>
            <a:ext cx="11188700"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49" y="290335"/>
            <a:ext cx="11188700"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0" y="2052001"/>
            <a:ext cx="11188699"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501650" y="1700215"/>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49" y="6121014"/>
            <a:ext cx="11188700" cy="260737"/>
          </a:xfrm>
        </p:spPr>
        <p:txBody>
          <a:bodyPr>
            <a:normAutofit/>
          </a:bodyPr>
          <a:lstStyle>
            <a:lvl1pPr>
              <a:spcAft>
                <a:spcPts val="0"/>
              </a:spcAft>
              <a:defRPr sz="1052"/>
            </a:lvl1pPr>
          </a:lstStyle>
          <a:p>
            <a:pPr lvl="0"/>
            <a:r>
              <a:rPr lang="en-US"/>
              <a:t>Click to edit Master text styles</a:t>
            </a:r>
          </a:p>
        </p:txBody>
      </p:sp>
      <p:sp>
        <p:nvSpPr>
          <p:cNvPr id="10" name="Date Placeholder 7">
            <a:extLst>
              <a:ext uri="{FF2B5EF4-FFF2-40B4-BE49-F238E27FC236}">
                <a16:creationId xmlns:a16="http://schemas.microsoft.com/office/drawing/2014/main" id="{2D380E8B-906B-4F04-BDAC-2BE1B2AA9DE6}"/>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1" name="Footer Placeholder 8">
            <a:extLst>
              <a:ext uri="{FF2B5EF4-FFF2-40B4-BE49-F238E27FC236}">
                <a16:creationId xmlns:a16="http://schemas.microsoft.com/office/drawing/2014/main" id="{77DBFAD8-437C-4021-A8B8-0A9881B2124A}"/>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2" name="Slide Number Placeholder 9">
            <a:extLst>
              <a:ext uri="{FF2B5EF4-FFF2-40B4-BE49-F238E27FC236}">
                <a16:creationId xmlns:a16="http://schemas.microsoft.com/office/drawing/2014/main" id="{4826019E-0AA6-4F8B-9D83-F94D4E09BC62}"/>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3507809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49" y="588965"/>
            <a:ext cx="11188700"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49" y="290335"/>
            <a:ext cx="11188700"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0" y="2051999"/>
            <a:ext cx="3549550"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0" y="1665290"/>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14391"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14392" y="1665290"/>
            <a:ext cx="3561614"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6"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8" y="1659145"/>
            <a:ext cx="3563954"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50" y="6121014"/>
            <a:ext cx="11165418" cy="260737"/>
          </a:xfrm>
        </p:spPr>
        <p:txBody>
          <a:bodyPr>
            <a:normAutofit/>
          </a:bodyPr>
          <a:lstStyle>
            <a:lvl1pPr>
              <a:spcAft>
                <a:spcPts val="0"/>
              </a:spcAft>
              <a:defRPr sz="998"/>
            </a:lvl1pPr>
          </a:lstStyle>
          <a:p>
            <a:pPr lvl="0"/>
            <a:r>
              <a:rPr lang="en-US" noProof="0"/>
              <a:t>Click to edit Master text styles</a:t>
            </a:r>
          </a:p>
        </p:txBody>
      </p:sp>
      <p:sp>
        <p:nvSpPr>
          <p:cNvPr id="19" name="Date Placeholder 7">
            <a:extLst>
              <a:ext uri="{FF2B5EF4-FFF2-40B4-BE49-F238E27FC236}">
                <a16:creationId xmlns:a16="http://schemas.microsoft.com/office/drawing/2014/main" id="{ED732CA7-E83C-49FA-9693-F3019398F7B0}"/>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20" name="Footer Placeholder 8">
            <a:extLst>
              <a:ext uri="{FF2B5EF4-FFF2-40B4-BE49-F238E27FC236}">
                <a16:creationId xmlns:a16="http://schemas.microsoft.com/office/drawing/2014/main" id="{EFF4014B-6BF7-4976-9C2E-E6D6B59FA378}"/>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21" name="Slide Number Placeholder 9">
            <a:extLst>
              <a:ext uri="{FF2B5EF4-FFF2-40B4-BE49-F238E27FC236}">
                <a16:creationId xmlns:a16="http://schemas.microsoft.com/office/drawing/2014/main" id="{3A9A2DF1-449A-48B3-9291-27DC0008BCD0}"/>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412467574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49" y="290335"/>
            <a:ext cx="11202669"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49" y="588965"/>
            <a:ext cx="11202669"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49" y="1665290"/>
            <a:ext cx="5305579" cy="4716461"/>
          </a:xfrm>
          <a:prstGeom prst="rect">
            <a:avLst/>
          </a:prstGeom>
        </p:spPr>
        <p:txBody>
          <a:bodyPr/>
          <a:lstStyle>
            <a:lvl1pPr>
              <a:tabLst>
                <a:tab pos="5880683" algn="r"/>
              </a:tabLst>
              <a:defRPr/>
            </a:lvl1pPr>
            <a:lvl2pPr>
              <a:tabLst>
                <a:tab pos="5880683" algn="r"/>
              </a:tabLst>
              <a:defRPr/>
            </a:lvl2pPr>
            <a:lvl3pPr>
              <a:tabLst>
                <a:tab pos="5880683" algn="r"/>
              </a:tabLst>
              <a:defRPr/>
            </a:lvl3pPr>
            <a:lvl4pPr>
              <a:tabLst>
                <a:tab pos="5880683" algn="r"/>
              </a:tabLst>
              <a:defRPr/>
            </a:lvl4pPr>
            <a:lvl5pPr>
              <a:tabLst>
                <a:tab pos="5880683"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90"/>
            <a:ext cx="5322781" cy="4716461"/>
          </a:xfrm>
          <a:prstGeom prst="rect">
            <a:avLst/>
          </a:prstGeom>
        </p:spPr>
        <p:txBody>
          <a:bodyPr/>
          <a:lstStyle>
            <a:lvl1pPr>
              <a:tabLst>
                <a:tab pos="5880683" algn="r"/>
              </a:tabLst>
              <a:defRPr/>
            </a:lvl1pPr>
            <a:lvl2pPr>
              <a:tabLst>
                <a:tab pos="5880683" algn="r"/>
              </a:tabLst>
              <a:defRPr/>
            </a:lvl2pPr>
            <a:lvl3pPr>
              <a:tabLst>
                <a:tab pos="5880683" algn="r"/>
              </a:tabLst>
              <a:defRPr/>
            </a:lvl3pPr>
            <a:lvl4pPr>
              <a:tabLst>
                <a:tab pos="5880683" algn="r"/>
              </a:tabLst>
              <a:defRPr/>
            </a:lvl4pPr>
            <a:lvl5pPr>
              <a:tabLst>
                <a:tab pos="5880683"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Date Placeholder 7">
            <a:extLst>
              <a:ext uri="{FF2B5EF4-FFF2-40B4-BE49-F238E27FC236}">
                <a16:creationId xmlns:a16="http://schemas.microsoft.com/office/drawing/2014/main" id="{97A56A03-0E75-4282-B35F-958ACA872FBE}"/>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1" name="Footer Placeholder 8">
            <a:extLst>
              <a:ext uri="{FF2B5EF4-FFF2-40B4-BE49-F238E27FC236}">
                <a16:creationId xmlns:a16="http://schemas.microsoft.com/office/drawing/2014/main" id="{94296A86-662C-4F5F-B73C-2792A815431A}"/>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2" name="Slide Number Placeholder 9">
            <a:extLst>
              <a:ext uri="{FF2B5EF4-FFF2-40B4-BE49-F238E27FC236}">
                <a16:creationId xmlns:a16="http://schemas.microsoft.com/office/drawing/2014/main" id="{54A13BCF-961A-4773-B60D-77CB408DD3AE}"/>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6809519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49" y="588965"/>
            <a:ext cx="11188700"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49" y="290335"/>
            <a:ext cx="11188700"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90"/>
            <a:ext cx="5305580" cy="4716461"/>
          </a:xfrm>
          <a:prstGeom prst="rect">
            <a:avLst/>
          </a:prstGeom>
        </p:spPr>
        <p:txBody>
          <a:bodyPr>
            <a:normAutofit/>
          </a:bodyPr>
          <a:lstStyle>
            <a:lvl1pPr>
              <a:tabLst>
                <a:tab pos="5880683" algn="r"/>
              </a:tabLst>
              <a:defRPr sz="1452"/>
            </a:lvl1pPr>
            <a:lvl2pPr>
              <a:tabLst>
                <a:tab pos="5880683" algn="r"/>
              </a:tabLst>
              <a:defRPr sz="1452"/>
            </a:lvl2pPr>
            <a:lvl3pPr>
              <a:tabLst>
                <a:tab pos="5880683" algn="r"/>
              </a:tabLst>
              <a:defRPr sz="1452"/>
            </a:lvl3pPr>
            <a:lvl4pPr>
              <a:tabLst>
                <a:tab pos="5880683" algn="r"/>
              </a:tabLst>
              <a:defRPr sz="1452"/>
            </a:lvl4pPr>
            <a:lvl5pPr>
              <a:tabLst>
                <a:tab pos="5880683" algn="r"/>
              </a:tabLst>
              <a:defRPr sz="1452" baseline="0"/>
            </a:lvl5pPr>
            <a:lvl6pPr>
              <a:defRPr sz="1871"/>
            </a:lvl6pPr>
            <a:lvl7pPr>
              <a:defRPr sz="1871"/>
            </a:lvl7pPr>
            <a:lvl8pPr>
              <a:defRPr sz="1871"/>
            </a:lvl8pPr>
            <a:lvl9pPr>
              <a:defRPr sz="1871"/>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4000" y="1665290"/>
            <a:ext cx="5306351" cy="4716461"/>
          </a:xfrm>
          <a:prstGeom prst="rect">
            <a:avLst/>
          </a:prstGeom>
        </p:spPr>
        <p:txBody>
          <a:bodyPr>
            <a:normAutofit/>
          </a:bodyPr>
          <a:lstStyle>
            <a:lvl1pPr>
              <a:tabLst>
                <a:tab pos="5880683" algn="r"/>
              </a:tabLst>
              <a:defRPr sz="1452"/>
            </a:lvl1pPr>
            <a:lvl2pPr>
              <a:tabLst>
                <a:tab pos="5880683" algn="r"/>
              </a:tabLst>
              <a:defRPr sz="1452"/>
            </a:lvl2pPr>
            <a:lvl3pPr>
              <a:tabLst>
                <a:tab pos="5880683" algn="r"/>
              </a:tabLst>
              <a:defRPr sz="1452"/>
            </a:lvl3pPr>
            <a:lvl4pPr>
              <a:tabLst>
                <a:tab pos="5880683" algn="r"/>
              </a:tabLst>
              <a:defRPr sz="1452"/>
            </a:lvl4pPr>
            <a:lvl5pPr>
              <a:tabLst>
                <a:tab pos="5880683" algn="r"/>
              </a:tabLst>
              <a:defRPr sz="1452" baseline="0"/>
            </a:lvl5pPr>
            <a:lvl6pPr>
              <a:defRPr sz="1871"/>
            </a:lvl6pPr>
            <a:lvl7pPr>
              <a:defRPr sz="1871"/>
            </a:lvl7pPr>
            <a:lvl8pPr>
              <a:defRPr sz="1871"/>
            </a:lvl8pPr>
            <a:lvl9pPr>
              <a:defRPr sz="1871"/>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Date Placeholder 7">
            <a:extLst>
              <a:ext uri="{FF2B5EF4-FFF2-40B4-BE49-F238E27FC236}">
                <a16:creationId xmlns:a16="http://schemas.microsoft.com/office/drawing/2014/main" id="{55684825-8195-4496-9A16-446AFCBD2E4A}"/>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4" name="Footer Placeholder 8">
            <a:extLst>
              <a:ext uri="{FF2B5EF4-FFF2-40B4-BE49-F238E27FC236}">
                <a16:creationId xmlns:a16="http://schemas.microsoft.com/office/drawing/2014/main" id="{1EF54C9F-9501-41BF-94B0-B2CA0260F274}"/>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5" name="Slide Number Placeholder 9">
            <a:extLst>
              <a:ext uri="{FF2B5EF4-FFF2-40B4-BE49-F238E27FC236}">
                <a16:creationId xmlns:a16="http://schemas.microsoft.com/office/drawing/2014/main" id="{BBC657A0-88BB-485F-9FB8-367FB5122B29}"/>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268758743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0" y="1665289"/>
            <a:ext cx="5355165" cy="4455725"/>
          </a:xfrm>
          <a:prstGeom prst="rect">
            <a:avLst/>
          </a:prstGeom>
        </p:spPr>
        <p:txBody>
          <a:bodyPr/>
          <a:lstStyle>
            <a:lvl1pPr>
              <a:tabLst>
                <a:tab pos="5880683" algn="r"/>
              </a:tabLst>
              <a:defRPr/>
            </a:lvl1pPr>
            <a:lvl2pPr>
              <a:tabLst>
                <a:tab pos="5880683" algn="r"/>
              </a:tabLst>
              <a:defRPr/>
            </a:lvl2pPr>
            <a:lvl3pPr>
              <a:tabLst>
                <a:tab pos="5880683" algn="r"/>
              </a:tabLst>
              <a:defRPr/>
            </a:lvl3pPr>
            <a:lvl4pPr>
              <a:tabLst>
                <a:tab pos="5880683" algn="r"/>
              </a:tabLst>
              <a:defRPr/>
            </a:lvl4pPr>
            <a:lvl5pPr>
              <a:tabLst>
                <a:tab pos="5880683"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4" y="2125013"/>
            <a:ext cx="5349128"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4" y="1665289"/>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49" y="588965"/>
            <a:ext cx="11188700"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49" y="290335"/>
            <a:ext cx="11188700"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88700" cy="260737"/>
          </a:xfrm>
        </p:spPr>
        <p:txBody>
          <a:bodyPr>
            <a:normAutofit/>
          </a:bodyPr>
          <a:lstStyle>
            <a:lvl1pPr>
              <a:spcAft>
                <a:spcPts val="0"/>
              </a:spcAft>
              <a:defRPr sz="998"/>
            </a:lvl1pPr>
          </a:lstStyle>
          <a:p>
            <a:pPr lvl="0"/>
            <a:r>
              <a:rPr lang="en-US"/>
              <a:t>Click to edit Master text styles</a:t>
            </a:r>
          </a:p>
        </p:txBody>
      </p:sp>
      <p:sp>
        <p:nvSpPr>
          <p:cNvPr id="14" name="Date Placeholder 7">
            <a:extLst>
              <a:ext uri="{FF2B5EF4-FFF2-40B4-BE49-F238E27FC236}">
                <a16:creationId xmlns:a16="http://schemas.microsoft.com/office/drawing/2014/main" id="{0B054244-B15E-4D52-894F-DF588179C643}"/>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6" name="Footer Placeholder 8">
            <a:extLst>
              <a:ext uri="{FF2B5EF4-FFF2-40B4-BE49-F238E27FC236}">
                <a16:creationId xmlns:a16="http://schemas.microsoft.com/office/drawing/2014/main" id="{C8407D95-089C-4125-A3EC-446E01AEE7F4}"/>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7" name="Slide Number Placeholder 9">
            <a:extLst>
              <a:ext uri="{FF2B5EF4-FFF2-40B4-BE49-F238E27FC236}">
                <a16:creationId xmlns:a16="http://schemas.microsoft.com/office/drawing/2014/main" id="{28EEB498-78F1-40A4-A677-3143EF7E73FD}"/>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426787451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 Whit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01651" y="6305178"/>
            <a:ext cx="4638788" cy="298450"/>
          </a:xfrm>
          <a:prstGeom prst="rect">
            <a:avLst/>
          </a:prstGeom>
        </p:spPr>
        <p:txBody>
          <a:bodyPr anchor="b">
            <a:normAutofit/>
          </a:bodyPr>
          <a:lstStyle>
            <a:lvl1pPr>
              <a:spcAft>
                <a:spcPts val="0"/>
              </a:spcAft>
              <a:defRPr sz="127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5E07D16A-6EF9-4DE2-8458-2CDCD04B4FB7}"/>
              </a:ext>
            </a:extLst>
          </p:cNvPr>
          <p:cNvGrpSpPr>
            <a:grpSpLocks noChangeAspect="1"/>
          </p:cNvGrpSpPr>
          <p:nvPr/>
        </p:nvGrpSpPr>
        <p:grpSpPr>
          <a:xfrm>
            <a:off x="431028" y="342914"/>
            <a:ext cx="2293942" cy="346941"/>
            <a:chOff x="398463" y="404813"/>
            <a:chExt cx="1627187" cy="307976"/>
          </a:xfrm>
          <a:solidFill>
            <a:schemeClr val="tx1"/>
          </a:solidFill>
        </p:grpSpPr>
        <p:sp>
          <p:nvSpPr>
            <p:cNvPr id="17" name="Oval 5">
              <a:extLst>
                <a:ext uri="{FF2B5EF4-FFF2-40B4-BE49-F238E27FC236}">
                  <a16:creationId xmlns:a16="http://schemas.microsoft.com/office/drawing/2014/main" id="{DBFCB953-B9BF-42B6-847B-DA23856B80E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18" name="Freeform 6">
              <a:extLst>
                <a:ext uri="{FF2B5EF4-FFF2-40B4-BE49-F238E27FC236}">
                  <a16:creationId xmlns:a16="http://schemas.microsoft.com/office/drawing/2014/main" id="{48767813-7AB9-4998-B464-A4AC6C31A84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19" name="Rectangle 7">
              <a:extLst>
                <a:ext uri="{FF2B5EF4-FFF2-40B4-BE49-F238E27FC236}">
                  <a16:creationId xmlns:a16="http://schemas.microsoft.com/office/drawing/2014/main" id="{A7DAAE69-D146-4D67-88B8-32ACAE7E077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20" name="Freeform 8">
              <a:extLst>
                <a:ext uri="{FF2B5EF4-FFF2-40B4-BE49-F238E27FC236}">
                  <a16:creationId xmlns:a16="http://schemas.microsoft.com/office/drawing/2014/main" id="{B2C81ABB-614A-4158-90C3-6B9A9EDFEF3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21" name="Rectangle 9">
              <a:extLst>
                <a:ext uri="{FF2B5EF4-FFF2-40B4-BE49-F238E27FC236}">
                  <a16:creationId xmlns:a16="http://schemas.microsoft.com/office/drawing/2014/main" id="{A7FFBEDC-B93A-4D88-A4EB-561BFE7147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3" name="Rectangle 10">
              <a:extLst>
                <a:ext uri="{FF2B5EF4-FFF2-40B4-BE49-F238E27FC236}">
                  <a16:creationId xmlns:a16="http://schemas.microsoft.com/office/drawing/2014/main" id="{CE965120-5A18-4554-9C08-5048DD7AA3C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4" name="Freeform 11">
              <a:extLst>
                <a:ext uri="{FF2B5EF4-FFF2-40B4-BE49-F238E27FC236}">
                  <a16:creationId xmlns:a16="http://schemas.microsoft.com/office/drawing/2014/main" id="{98C14172-DEE9-4DDF-92DB-A29732936F3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5" name="Freeform 12">
              <a:extLst>
                <a:ext uri="{FF2B5EF4-FFF2-40B4-BE49-F238E27FC236}">
                  <a16:creationId xmlns:a16="http://schemas.microsoft.com/office/drawing/2014/main" id="{34F70600-8B84-4A87-BE16-AA91153002D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6" name="Freeform 13">
              <a:extLst>
                <a:ext uri="{FF2B5EF4-FFF2-40B4-BE49-F238E27FC236}">
                  <a16:creationId xmlns:a16="http://schemas.microsoft.com/office/drawing/2014/main" id="{77E53793-82E1-4677-AD8A-89E69EBD489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7" name="Freeform 14">
              <a:extLst>
                <a:ext uri="{FF2B5EF4-FFF2-40B4-BE49-F238E27FC236}">
                  <a16:creationId xmlns:a16="http://schemas.microsoft.com/office/drawing/2014/main" id="{69403603-4F0F-46EE-830C-6F2DAD24372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grpSp>
      <p:sp>
        <p:nvSpPr>
          <p:cNvPr id="22" name="Footer Placeholder 8">
            <a:extLst>
              <a:ext uri="{FF2B5EF4-FFF2-40B4-BE49-F238E27FC236}">
                <a16:creationId xmlns:a16="http://schemas.microsoft.com/office/drawing/2014/main" id="{B32B4E7A-2416-4BCF-B3C9-B240316411DB}"/>
              </a:ext>
            </a:extLst>
          </p:cNvPr>
          <p:cNvSpPr>
            <a:spLocks noGrp="1"/>
          </p:cNvSpPr>
          <p:nvPr>
            <p:ph type="ftr" sz="quarter" idx="3"/>
          </p:nvPr>
        </p:nvSpPr>
        <p:spPr>
          <a:xfrm>
            <a:off x="6335183" y="6477985"/>
            <a:ext cx="5355169" cy="125547"/>
          </a:xfrm>
          <a:prstGeom prst="rect">
            <a:avLst/>
          </a:prstGeom>
          <a:noFill/>
        </p:spPr>
        <p:txBody>
          <a:bodyPr wrap="square" lIns="0" tIns="0" rIns="0" bIns="0" rtlCol="0">
            <a:spAutoFit/>
          </a:bodyPr>
          <a:lstStyle>
            <a:lvl1pPr algn="r">
              <a:defRPr lang="fr-FR" sz="816">
                <a:latin typeface="Calibri" panose="020F0502020204030204" pitchFamily="34" charset="0"/>
                <a:cs typeface="Calibri" panose="020F0502020204030204" pitchFamily="34" charset="0"/>
              </a:defRPr>
            </a:lvl1pPr>
          </a:lstStyle>
          <a:p>
            <a:endParaRPr lang="fr-FR" dirty="0"/>
          </a:p>
        </p:txBody>
      </p:sp>
      <p:sp>
        <p:nvSpPr>
          <p:cNvPr id="23" name="Picture Placeholder 8">
            <a:extLst>
              <a:ext uri="{FF2B5EF4-FFF2-40B4-BE49-F238E27FC236}">
                <a16:creationId xmlns:a16="http://schemas.microsoft.com/office/drawing/2014/main" id="{3CE753AD-9021-4CE6-976E-DF080DA2BFF9}"/>
              </a:ext>
            </a:extLst>
          </p:cNvPr>
          <p:cNvSpPr>
            <a:spLocks noGrp="1" noChangeAspect="1"/>
          </p:cNvSpPr>
          <p:nvPr>
            <p:ph type="pic" sz="quarter" idx="11"/>
          </p:nvPr>
        </p:nvSpPr>
        <p:spPr>
          <a:xfrm>
            <a:off x="3065599" y="1055223"/>
            <a:ext cx="6080516" cy="4560387"/>
          </a:xfrm>
          <a:prstGeom prst="rect">
            <a:avLst/>
          </a:prstGeom>
        </p:spPr>
        <p:txBody>
          <a:bodyPr/>
          <a:lstStyle>
            <a:lvl1pPr>
              <a:defRPr>
                <a:solidFill>
                  <a:schemeClr val="tx1"/>
                </a:solidFill>
              </a:defRPr>
            </a:lvl1pPr>
          </a:lstStyle>
          <a:p>
            <a:r>
              <a:rPr lang="en-US" noProof="0" dirty="0"/>
              <a:t>Click icon to add picture</a:t>
            </a:r>
          </a:p>
        </p:txBody>
      </p:sp>
      <p:sp>
        <p:nvSpPr>
          <p:cNvPr id="24" name="Text Placeholder 5">
            <a:extLst>
              <a:ext uri="{FF2B5EF4-FFF2-40B4-BE49-F238E27FC236}">
                <a16:creationId xmlns:a16="http://schemas.microsoft.com/office/drawing/2014/main" id="{10ADFAC3-828D-4F23-BD95-63BA183A9D65}"/>
              </a:ext>
            </a:extLst>
          </p:cNvPr>
          <p:cNvSpPr>
            <a:spLocks noGrp="1"/>
          </p:cNvSpPr>
          <p:nvPr>
            <p:ph type="body" sz="quarter" idx="13" hasCustomPrompt="1"/>
          </p:nvPr>
        </p:nvSpPr>
        <p:spPr>
          <a:xfrm>
            <a:off x="6335183" y="5247216"/>
            <a:ext cx="4105122" cy="905500"/>
          </a:xfrm>
        </p:spPr>
        <p:txBody>
          <a:bodyPr anchor="b">
            <a:noAutofit/>
          </a:bodyPr>
          <a:lstStyle>
            <a:lvl1pPr>
              <a:spcAft>
                <a:spcPts val="544"/>
              </a:spcAft>
              <a:defRPr sz="907" b="0">
                <a:solidFill>
                  <a:schemeClr val="tx1"/>
                </a:solidFill>
              </a:defRPr>
            </a:lvl1pPr>
            <a:lvl2pPr marL="155539" indent="-155539">
              <a:spcAft>
                <a:spcPts val="544"/>
              </a:spcAft>
              <a:buFont typeface="Arial" panose="020B0604020202020204" pitchFamily="34" charset="0"/>
              <a:buChar char="•"/>
              <a:defRPr sz="907" b="0">
                <a:solidFill>
                  <a:schemeClr val="bg1"/>
                </a:solidFill>
              </a:defRPr>
            </a:lvl2pPr>
            <a:lvl3pPr>
              <a:spcAft>
                <a:spcPts val="544"/>
              </a:spcAft>
              <a:defRPr sz="907">
                <a:solidFill>
                  <a:schemeClr val="bg1"/>
                </a:solidFill>
              </a:defRPr>
            </a:lvl3pPr>
            <a:lvl4pPr>
              <a:spcAft>
                <a:spcPts val="544"/>
              </a:spcAft>
              <a:defRPr sz="907">
                <a:solidFill>
                  <a:schemeClr val="bg1"/>
                </a:solidFill>
              </a:defRPr>
            </a:lvl4pPr>
            <a:lvl5pPr>
              <a:spcAft>
                <a:spcPts val="544"/>
              </a:spcAft>
              <a:defRPr sz="907">
                <a:solidFill>
                  <a:schemeClr val="bg1"/>
                </a:solidFill>
              </a:defRPr>
            </a:lvl5pPr>
          </a:lstStyle>
          <a:p>
            <a:r>
              <a:rPr lang="fr-FR" dirty="0"/>
              <a:t>Destinataire(s): [Ajouter les NOM Prénom, ou organisme]</a:t>
            </a:r>
          </a:p>
        </p:txBody>
      </p:sp>
      <p:sp>
        <p:nvSpPr>
          <p:cNvPr id="26" name="Title 3">
            <a:extLst>
              <a:ext uri="{FF2B5EF4-FFF2-40B4-BE49-F238E27FC236}">
                <a16:creationId xmlns:a16="http://schemas.microsoft.com/office/drawing/2014/main" id="{255BF450-B48F-49C0-8E9F-04D50570BAE7}"/>
              </a:ext>
            </a:extLst>
          </p:cNvPr>
          <p:cNvSpPr>
            <a:spLocks noGrp="1"/>
          </p:cNvSpPr>
          <p:nvPr>
            <p:ph type="title"/>
          </p:nvPr>
        </p:nvSpPr>
        <p:spPr>
          <a:xfrm>
            <a:off x="501653" y="5247217"/>
            <a:ext cx="4638788" cy="905499"/>
          </a:xfrm>
        </p:spPr>
        <p:txBody>
          <a:bodyPr anchor="b"/>
          <a:lstStyle>
            <a:lvl1pPr>
              <a:defRPr sz="2540" b="0">
                <a:solidFill>
                  <a:schemeClr val="accent1"/>
                </a:solidFill>
              </a:defRPr>
            </a:lvl1pPr>
          </a:lstStyle>
          <a:p>
            <a:r>
              <a:rPr lang="en-US"/>
              <a:t>Click to edit Master title style</a:t>
            </a:r>
            <a:endParaRPr lang="fr-FR" dirty="0"/>
          </a:p>
        </p:txBody>
      </p:sp>
      <p:pic>
        <p:nvPicPr>
          <p:cNvPr id="27" name="Picture 26">
            <a:extLst>
              <a:ext uri="{FF2B5EF4-FFF2-40B4-BE49-F238E27FC236}">
                <a16:creationId xmlns:a16="http://schemas.microsoft.com/office/drawing/2014/main" id="{4E327673-1413-4DDD-9B6F-FD99E249528C}"/>
              </a:ext>
            </a:extLst>
          </p:cNvPr>
          <p:cNvPicPr>
            <a:picLocks noChangeAspect="1"/>
          </p:cNvPicPr>
          <p:nvPr/>
        </p:nvPicPr>
        <p:blipFill>
          <a:blip r:embed="rId2"/>
          <a:srcRect/>
          <a:stretch/>
        </p:blipFill>
        <p:spPr>
          <a:xfrm>
            <a:off x="10509113" y="5453977"/>
            <a:ext cx="1367097" cy="1087602"/>
          </a:xfrm>
          <a:prstGeom prst="rect">
            <a:avLst/>
          </a:prstGeom>
        </p:spPr>
      </p:pic>
    </p:spTree>
    <p:extLst>
      <p:ext uri="{BB962C8B-B14F-4D97-AF65-F5344CB8AC3E}">
        <p14:creationId xmlns:p14="http://schemas.microsoft.com/office/powerpoint/2010/main" val="24596846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50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0" y="2125013"/>
            <a:ext cx="5349129" cy="3996000"/>
          </a:xfrm>
        </p:spPr>
        <p:txBody>
          <a:bodyPr/>
          <a:lstStyle/>
          <a:p>
            <a:r>
              <a:rPr lang="en-US" dirty="0"/>
              <a:t>Click icon to add chart</a:t>
            </a:r>
            <a:endParaRPr lang="en-GB" dirty="0"/>
          </a:p>
        </p:txBody>
      </p:sp>
      <p:sp>
        <p:nvSpPr>
          <p:cNvPr id="6" name="Text Placeholder 5"/>
          <p:cNvSpPr>
            <a:spLocks noGrp="1"/>
          </p:cNvSpPr>
          <p:nvPr>
            <p:ph type="body" sz="quarter" idx="22"/>
          </p:nvPr>
        </p:nvSpPr>
        <p:spPr>
          <a:xfrm>
            <a:off x="6341223" y="1665289"/>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49" y="588965"/>
            <a:ext cx="11188700"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49" y="290335"/>
            <a:ext cx="11188700"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65418" cy="260737"/>
          </a:xfrm>
        </p:spPr>
        <p:txBody>
          <a:bodyPr>
            <a:normAutofit/>
          </a:bodyPr>
          <a:lstStyle>
            <a:lvl1pPr>
              <a:spcAft>
                <a:spcPts val="0"/>
              </a:spcAft>
              <a:defRPr sz="998"/>
            </a:lvl1pPr>
          </a:lstStyle>
          <a:p>
            <a:pPr lvl="0"/>
            <a:r>
              <a:rPr lang="en-US"/>
              <a:t>Click to edit Master text styles</a:t>
            </a:r>
          </a:p>
        </p:txBody>
      </p:sp>
      <p:sp>
        <p:nvSpPr>
          <p:cNvPr id="9" name="Chart Placeholder 2"/>
          <p:cNvSpPr>
            <a:spLocks noGrp="1"/>
          </p:cNvSpPr>
          <p:nvPr>
            <p:ph type="chart" sz="quarter" idx="24"/>
          </p:nvPr>
        </p:nvSpPr>
        <p:spPr>
          <a:xfrm>
            <a:off x="501649" y="2125013"/>
            <a:ext cx="5339063" cy="3996000"/>
          </a:xfrm>
        </p:spPr>
        <p:txBody>
          <a:bodyPr/>
          <a:lstStyle/>
          <a:p>
            <a:r>
              <a:rPr lang="en-US" dirty="0"/>
              <a:t>Click icon to add chart</a:t>
            </a:r>
            <a:endParaRPr lang="en-GB" dirty="0"/>
          </a:p>
        </p:txBody>
      </p:sp>
      <p:sp>
        <p:nvSpPr>
          <p:cNvPr id="12" name="Text Placeholder 5"/>
          <p:cNvSpPr>
            <a:spLocks noGrp="1"/>
          </p:cNvSpPr>
          <p:nvPr>
            <p:ph type="body" sz="quarter" idx="25"/>
          </p:nvPr>
        </p:nvSpPr>
        <p:spPr>
          <a:xfrm>
            <a:off x="501650" y="1665289"/>
            <a:ext cx="5339064" cy="420687"/>
          </a:xfrm>
        </p:spPr>
        <p:txBody>
          <a:bodyPr/>
          <a:lstStyle/>
          <a:p>
            <a:pPr lvl="0"/>
            <a:r>
              <a:rPr lang="en-US" noProof="0"/>
              <a:t>Click to edit Master text styles</a:t>
            </a:r>
          </a:p>
        </p:txBody>
      </p:sp>
      <p:sp>
        <p:nvSpPr>
          <p:cNvPr id="17" name="Date Placeholder 7">
            <a:extLst>
              <a:ext uri="{FF2B5EF4-FFF2-40B4-BE49-F238E27FC236}">
                <a16:creationId xmlns:a16="http://schemas.microsoft.com/office/drawing/2014/main" id="{95AF6FF6-C08E-451B-819E-48462A4583D7}"/>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8" name="Footer Placeholder 8">
            <a:extLst>
              <a:ext uri="{FF2B5EF4-FFF2-40B4-BE49-F238E27FC236}">
                <a16:creationId xmlns:a16="http://schemas.microsoft.com/office/drawing/2014/main" id="{CBAE5FD5-2F5D-438E-BC70-DAC282B9DA3A}"/>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9" name="Slide Number Placeholder 9">
            <a:extLst>
              <a:ext uri="{FF2B5EF4-FFF2-40B4-BE49-F238E27FC236}">
                <a16:creationId xmlns:a16="http://schemas.microsoft.com/office/drawing/2014/main" id="{99AC8E73-FD21-4684-AABF-F6910E69998F}"/>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42727461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0" y="290335"/>
            <a:ext cx="11188699"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90"/>
            <a:ext cx="4431857" cy="4716463"/>
          </a:xfrm>
          <a:prstGeom prst="rect">
            <a:avLst/>
          </a:prstGeom>
        </p:spPr>
        <p:txBody>
          <a:bodyPr/>
          <a:lstStyle>
            <a:lvl1pPr>
              <a:tabLst>
                <a:tab pos="5880683" algn="r"/>
              </a:tabLst>
              <a:defRPr/>
            </a:lvl1pPr>
            <a:lvl2pPr>
              <a:tabLst>
                <a:tab pos="5880683" algn="r"/>
              </a:tabLst>
              <a:defRPr/>
            </a:lvl2pPr>
            <a:lvl3pPr>
              <a:tabLst>
                <a:tab pos="5880683" algn="r"/>
              </a:tabLst>
              <a:defRPr/>
            </a:lvl3pPr>
            <a:lvl4pPr>
              <a:tabLst>
                <a:tab pos="5880683" algn="r"/>
              </a:tabLst>
              <a:defRPr/>
            </a:lvl4pPr>
            <a:lvl5pPr>
              <a:tabLst>
                <a:tab pos="5880683"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880683" algn="r"/>
              </a:tabLst>
              <a:defRPr/>
            </a:lvl1pPr>
            <a:lvl2pPr>
              <a:tabLst>
                <a:tab pos="5880683" algn="r"/>
              </a:tabLst>
              <a:defRPr/>
            </a:lvl2pPr>
            <a:lvl3pPr>
              <a:tabLst>
                <a:tab pos="5880683" algn="r"/>
              </a:tabLst>
              <a:defRPr/>
            </a:lvl3pPr>
            <a:lvl4pPr>
              <a:tabLst>
                <a:tab pos="5880683" algn="r"/>
              </a:tabLst>
              <a:defRPr/>
            </a:lvl4pPr>
            <a:lvl5pPr>
              <a:tabLst>
                <a:tab pos="5880683"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49" y="588965"/>
            <a:ext cx="11188700"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3" name="Date Placeholder 7">
            <a:extLst>
              <a:ext uri="{FF2B5EF4-FFF2-40B4-BE49-F238E27FC236}">
                <a16:creationId xmlns:a16="http://schemas.microsoft.com/office/drawing/2014/main" id="{F14FEB2A-8432-413A-A456-6CDA5525A182}"/>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4" name="Footer Placeholder 8">
            <a:extLst>
              <a:ext uri="{FF2B5EF4-FFF2-40B4-BE49-F238E27FC236}">
                <a16:creationId xmlns:a16="http://schemas.microsoft.com/office/drawing/2014/main" id="{11C7FD25-3A1F-4600-90F6-984420B26974}"/>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5" name="Slide Number Placeholder 9">
            <a:extLst>
              <a:ext uri="{FF2B5EF4-FFF2-40B4-BE49-F238E27FC236}">
                <a16:creationId xmlns:a16="http://schemas.microsoft.com/office/drawing/2014/main" id="{0D35987E-2542-47A0-BF29-D70712E4725F}"/>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56692119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49" y="290335"/>
            <a:ext cx="11188700"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rmAutofit/>
          </a:bodyPr>
          <a:lstStyle>
            <a:lvl1pPr>
              <a:tabLst>
                <a:tab pos="5880683" algn="r"/>
              </a:tabLst>
              <a:defRPr sz="1905">
                <a:solidFill>
                  <a:schemeClr val="accent3"/>
                </a:solidFill>
              </a:defRPr>
            </a:lvl1pPr>
            <a:lvl2pPr>
              <a:tabLst>
                <a:tab pos="5880683" algn="r"/>
              </a:tabLst>
              <a:defRPr/>
            </a:lvl2pPr>
            <a:lvl3pPr>
              <a:tabLst>
                <a:tab pos="5880683" algn="r"/>
              </a:tabLst>
              <a:defRPr/>
            </a:lvl3pPr>
            <a:lvl4pPr>
              <a:tabLst>
                <a:tab pos="5880683" algn="r"/>
              </a:tabLst>
              <a:defRPr/>
            </a:lvl4pPr>
            <a:lvl5pPr>
              <a:tabLst>
                <a:tab pos="5880683"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0" y="1665288"/>
            <a:ext cx="6506347" cy="4716462"/>
          </a:xfrm>
          <a:prstGeom prst="rect">
            <a:avLst/>
          </a:prstGeom>
        </p:spPr>
        <p:txBody>
          <a:bodyPr/>
          <a:lstStyle>
            <a:lvl1pPr>
              <a:tabLst>
                <a:tab pos="5880683" algn="r"/>
              </a:tabLst>
              <a:defRPr/>
            </a:lvl1pPr>
            <a:lvl2pPr>
              <a:tabLst>
                <a:tab pos="5880683" algn="r"/>
              </a:tabLst>
              <a:defRPr/>
            </a:lvl2pPr>
            <a:lvl3pPr>
              <a:tabLst>
                <a:tab pos="5880683" algn="r"/>
              </a:tabLst>
              <a:defRPr/>
            </a:lvl3pPr>
            <a:lvl4pPr>
              <a:tabLst>
                <a:tab pos="5880683" algn="r"/>
              </a:tabLst>
              <a:defRPr/>
            </a:lvl4pPr>
            <a:lvl5pPr>
              <a:tabLst>
                <a:tab pos="5880683"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588965"/>
            <a:ext cx="11188699"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3" name="Date Placeholder 7">
            <a:extLst>
              <a:ext uri="{FF2B5EF4-FFF2-40B4-BE49-F238E27FC236}">
                <a16:creationId xmlns:a16="http://schemas.microsoft.com/office/drawing/2014/main" id="{24624CF9-6D70-4211-A650-E9BE2C10FB64}"/>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4" name="Footer Placeholder 8">
            <a:extLst>
              <a:ext uri="{FF2B5EF4-FFF2-40B4-BE49-F238E27FC236}">
                <a16:creationId xmlns:a16="http://schemas.microsoft.com/office/drawing/2014/main" id="{7C762785-DDF5-4011-8148-92107988310B}"/>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5" name="Slide Number Placeholder 9">
            <a:extLst>
              <a:ext uri="{FF2B5EF4-FFF2-40B4-BE49-F238E27FC236}">
                <a16:creationId xmlns:a16="http://schemas.microsoft.com/office/drawing/2014/main" id="{93579AEC-628E-4D68-BC23-268E889C46D5}"/>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94039331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49" y="290335"/>
            <a:ext cx="11188700" cy="307130"/>
          </a:xfrm>
        </p:spPr>
        <p:txBody>
          <a:bodyPr>
            <a:spAutoFit/>
          </a:bodyPr>
          <a:lstStyle/>
          <a:p>
            <a:r>
              <a:rPr lang="en-US"/>
              <a:t>Click to edit Master title style</a:t>
            </a:r>
            <a:endParaRPr lang="en-GB" dirty="0"/>
          </a:p>
        </p:txBody>
      </p:sp>
      <p:sp>
        <p:nvSpPr>
          <p:cNvPr id="4" name="Picture Placeholder 6"/>
          <p:cNvSpPr>
            <a:spLocks noGrp="1"/>
          </p:cNvSpPr>
          <p:nvPr>
            <p:ph type="pic" sz="quarter" idx="13"/>
          </p:nvPr>
        </p:nvSpPr>
        <p:spPr>
          <a:xfrm>
            <a:off x="501650" y="1700214"/>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7" y="1700214"/>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4" y="1700214"/>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2" y="1700214"/>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06266" indent="-206266">
              <a:spcAft>
                <a:spcPts val="0"/>
              </a:spcAft>
              <a:buFont typeface="Arial" panose="020B0604020202020204" pitchFamily="34" charset="0"/>
              <a:buChar char="•"/>
              <a:defRPr/>
            </a:lvl4pPr>
            <a:lvl5pPr marL="416741" indent="-206266">
              <a:spcAft>
                <a:spcPts val="0"/>
              </a:spcAft>
              <a:defRPr baseline="0"/>
            </a:lvl5pPr>
            <a:lvl6pPr marL="416741" indent="-206266">
              <a:spcAft>
                <a:spcPts val="0"/>
              </a:spcAft>
              <a:buFont typeface="Verdana" panose="020B0604030504040204" pitchFamily="34" charset="0"/>
              <a:buChar char="−"/>
              <a:defRPr/>
            </a:lvl6pPr>
            <a:lvl7pPr marL="416741" indent="-206266">
              <a:spcAft>
                <a:spcPts val="0"/>
              </a:spcAft>
              <a:defRPr/>
            </a:lvl7pPr>
            <a:lvl8pPr marL="416741" indent="-206266">
              <a:spcAft>
                <a:spcPts val="0"/>
              </a:spcAft>
              <a:defRPr/>
            </a:lvl8pPr>
            <a:lvl9pPr marL="416741" indent="-2062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5487"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206266" indent="-206266">
              <a:spcAft>
                <a:spcPts val="0"/>
              </a:spcAft>
              <a:buFont typeface="Arial" panose="020B0604020202020204" pitchFamily="34" charset="0"/>
              <a:buChar char="•"/>
              <a:defRPr/>
            </a:lvl4pPr>
            <a:lvl5pPr marL="416741" indent="-206266">
              <a:spcAft>
                <a:spcPts val="0"/>
              </a:spcAft>
              <a:defRPr baseline="0"/>
            </a:lvl5pPr>
            <a:lvl6pPr marL="416741" indent="-206266">
              <a:spcAft>
                <a:spcPts val="0"/>
              </a:spcAft>
              <a:buFont typeface="Verdana" panose="020B0604030504040204" pitchFamily="34" charset="0"/>
              <a:buChar char="−"/>
              <a:defRPr/>
            </a:lvl6pPr>
            <a:lvl7pPr marL="416741" indent="-206266">
              <a:spcAft>
                <a:spcPts val="0"/>
              </a:spcAft>
              <a:defRPr/>
            </a:lvl7pPr>
            <a:lvl8pPr marL="416741" indent="-206266">
              <a:spcAft>
                <a:spcPts val="0"/>
              </a:spcAft>
              <a:defRPr/>
            </a:lvl8pPr>
            <a:lvl9pPr marL="416741" indent="-2062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7803" y="3124201"/>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206266" indent="-206266">
              <a:spcAft>
                <a:spcPts val="0"/>
              </a:spcAft>
              <a:buFont typeface="Arial" panose="020B0604020202020204" pitchFamily="34" charset="0"/>
              <a:buChar char="•"/>
              <a:defRPr/>
            </a:lvl4pPr>
            <a:lvl5pPr marL="416741" indent="-206266">
              <a:spcAft>
                <a:spcPts val="0"/>
              </a:spcAft>
              <a:defRPr baseline="0"/>
            </a:lvl5pPr>
            <a:lvl6pPr marL="416741" indent="-206266">
              <a:spcAft>
                <a:spcPts val="0"/>
              </a:spcAft>
              <a:buFont typeface="Verdana" panose="020B0604030504040204" pitchFamily="34" charset="0"/>
              <a:buChar char="−"/>
              <a:defRPr/>
            </a:lvl6pPr>
            <a:lvl7pPr marL="416741" indent="-206266">
              <a:spcAft>
                <a:spcPts val="0"/>
              </a:spcAft>
              <a:defRPr/>
            </a:lvl7pPr>
            <a:lvl8pPr marL="416741" indent="-206266">
              <a:spcAft>
                <a:spcPts val="0"/>
              </a:spcAft>
              <a:defRPr/>
            </a:lvl8pPr>
            <a:lvl9pPr marL="416741" indent="-2062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71"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206266" indent="-206266">
              <a:spcAft>
                <a:spcPts val="0"/>
              </a:spcAft>
              <a:buFont typeface="Arial" panose="020B0604020202020204" pitchFamily="34" charset="0"/>
              <a:buChar char="•"/>
              <a:defRPr/>
            </a:lvl4pPr>
            <a:lvl5pPr marL="416741" indent="-206266">
              <a:spcAft>
                <a:spcPts val="0"/>
              </a:spcAft>
              <a:defRPr baseline="0"/>
            </a:lvl5pPr>
            <a:lvl6pPr marL="416741" indent="-206266">
              <a:spcAft>
                <a:spcPts val="0"/>
              </a:spcAft>
              <a:buFont typeface="Verdana" panose="020B0604030504040204" pitchFamily="34" charset="0"/>
              <a:buChar char="−"/>
              <a:defRPr/>
            </a:lvl6pPr>
            <a:lvl7pPr marL="416741" indent="-206266">
              <a:spcAft>
                <a:spcPts val="0"/>
              </a:spcAft>
              <a:defRPr/>
            </a:lvl7pPr>
            <a:lvl8pPr marL="416741" indent="-206266">
              <a:spcAft>
                <a:spcPts val="0"/>
              </a:spcAft>
              <a:defRPr/>
            </a:lvl8pPr>
            <a:lvl9pPr marL="416741" indent="-20626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588965"/>
            <a:ext cx="11188701"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7" name="Date Placeholder 7">
            <a:extLst>
              <a:ext uri="{FF2B5EF4-FFF2-40B4-BE49-F238E27FC236}">
                <a16:creationId xmlns:a16="http://schemas.microsoft.com/office/drawing/2014/main" id="{6CEA9E4F-59F0-4D08-83DF-EC879D57E839}"/>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8" name="Footer Placeholder 8">
            <a:extLst>
              <a:ext uri="{FF2B5EF4-FFF2-40B4-BE49-F238E27FC236}">
                <a16:creationId xmlns:a16="http://schemas.microsoft.com/office/drawing/2014/main" id="{CAFBA71F-4368-43FD-9156-937E0C9D463E}"/>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9" name="Slide Number Placeholder 9">
            <a:extLst>
              <a:ext uri="{FF2B5EF4-FFF2-40B4-BE49-F238E27FC236}">
                <a16:creationId xmlns:a16="http://schemas.microsoft.com/office/drawing/2014/main" id="{282A4A18-9409-4068-806C-99A791647829}"/>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23300939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49" y="290335"/>
            <a:ext cx="11188700" cy="307130"/>
          </a:xfrm>
        </p:spPr>
        <p:txBody>
          <a:bodyPr>
            <a:spAutoFit/>
          </a:bodyPr>
          <a:lstStyle/>
          <a:p>
            <a:r>
              <a:rPr lang="en-US" noProof="0"/>
              <a:t>Click to edit Master title style</a:t>
            </a:r>
            <a:endParaRPr lang="en-US" noProof="0" dirty="0"/>
          </a:p>
        </p:txBody>
      </p:sp>
      <p:sp>
        <p:nvSpPr>
          <p:cNvPr id="4" name="Rectangle 3"/>
          <p:cNvSpPr/>
          <p:nvPr/>
        </p:nvSpPr>
        <p:spPr>
          <a:xfrm>
            <a:off x="504001"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6" dirty="0">
              <a:solidFill>
                <a:schemeClr val="bg1"/>
              </a:solidFill>
            </a:endParaRPr>
          </a:p>
        </p:txBody>
      </p:sp>
      <p:sp>
        <p:nvSpPr>
          <p:cNvPr id="5" name="Rectangle 4"/>
          <p:cNvSpPr/>
          <p:nvPr/>
        </p:nvSpPr>
        <p:spPr>
          <a:xfrm>
            <a:off x="6224086"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6" dirty="0">
              <a:solidFill>
                <a:schemeClr val="bg1"/>
              </a:solidFill>
            </a:endParaRPr>
          </a:p>
        </p:txBody>
      </p:sp>
      <p:sp>
        <p:nvSpPr>
          <p:cNvPr id="6" name="Rectangle 5"/>
          <p:cNvSpPr/>
          <p:nvPr/>
        </p:nvSpPr>
        <p:spPr>
          <a:xfrm>
            <a:off x="504001"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6" dirty="0">
              <a:solidFill>
                <a:schemeClr val="bg1"/>
              </a:solidFill>
            </a:endParaRPr>
          </a:p>
        </p:txBody>
      </p:sp>
      <p:sp>
        <p:nvSpPr>
          <p:cNvPr id="7" name="Rectangle 6"/>
          <p:cNvSpPr/>
          <p:nvPr/>
        </p:nvSpPr>
        <p:spPr>
          <a:xfrm>
            <a:off x="6224086"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6" dirty="0">
              <a:solidFill>
                <a:schemeClr val="bg1"/>
              </a:solidFill>
            </a:endParaRPr>
          </a:p>
        </p:txBody>
      </p:sp>
      <p:sp>
        <p:nvSpPr>
          <p:cNvPr id="8" name="Picture Placeholder 11"/>
          <p:cNvSpPr>
            <a:spLocks noGrp="1"/>
          </p:cNvSpPr>
          <p:nvPr>
            <p:ph type="pic" sz="quarter" idx="25"/>
          </p:nvPr>
        </p:nvSpPr>
        <p:spPr>
          <a:xfrm>
            <a:off x="501649" y="1880213"/>
            <a:ext cx="1968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501649" y="4256213"/>
            <a:ext cx="1968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709650"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2" y="1880213"/>
            <a:ext cx="3302593"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709650"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2" y="4256213"/>
            <a:ext cx="3302593"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49" y="588965"/>
            <a:ext cx="11162350" cy="757255"/>
          </a:xfrm>
          <a:prstGeom prst="rect">
            <a:avLst/>
          </a:prstGeom>
        </p:spPr>
        <p:txBody>
          <a:bodyPr lIns="0" tIns="0" rIns="0" bIns="0">
            <a:noAutofit/>
          </a:bodyPr>
          <a:lstStyle>
            <a:lvl1pPr marL="0" indent="0">
              <a:buNone/>
              <a:defRPr sz="1996"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BDA76EEA-1E52-4D3C-80ED-6243878A60CE}"/>
              </a:ext>
            </a:extLst>
          </p:cNvPr>
          <p:cNvSpPr/>
          <p:nvPr/>
        </p:nvSpPr>
        <p:spPr>
          <a:xfrm>
            <a:off x="50165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19" name="Rectangle 18">
            <a:extLst>
              <a:ext uri="{FF2B5EF4-FFF2-40B4-BE49-F238E27FC236}">
                <a16:creationId xmlns:a16="http://schemas.microsoft.com/office/drawing/2014/main" id="{E1C3849E-5B87-4E89-A696-B1A8AE50A843}"/>
              </a:ext>
            </a:extLst>
          </p:cNvPr>
          <p:cNvSpPr/>
          <p:nvPr/>
        </p:nvSpPr>
        <p:spPr>
          <a:xfrm>
            <a:off x="6224086"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0" name="Rectangle 19">
            <a:extLst>
              <a:ext uri="{FF2B5EF4-FFF2-40B4-BE49-F238E27FC236}">
                <a16:creationId xmlns:a16="http://schemas.microsoft.com/office/drawing/2014/main" id="{5737EC39-0EB2-483C-9B36-B0052D120453}"/>
              </a:ext>
            </a:extLst>
          </p:cNvPr>
          <p:cNvSpPr/>
          <p:nvPr/>
        </p:nvSpPr>
        <p:spPr>
          <a:xfrm>
            <a:off x="50165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1" name="Rectangle 20">
            <a:extLst>
              <a:ext uri="{FF2B5EF4-FFF2-40B4-BE49-F238E27FC236}">
                <a16:creationId xmlns:a16="http://schemas.microsoft.com/office/drawing/2014/main" id="{00D336B3-2575-4F6E-9BAD-8C32D75B6E63}"/>
              </a:ext>
            </a:extLst>
          </p:cNvPr>
          <p:cNvSpPr/>
          <p:nvPr/>
        </p:nvSpPr>
        <p:spPr>
          <a:xfrm>
            <a:off x="6224086"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5" name="Date Placeholder 7">
            <a:extLst>
              <a:ext uri="{FF2B5EF4-FFF2-40B4-BE49-F238E27FC236}">
                <a16:creationId xmlns:a16="http://schemas.microsoft.com/office/drawing/2014/main" id="{CBDC6718-CD9E-4364-AECA-A7D373D5BE14}"/>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26" name="Footer Placeholder 8">
            <a:extLst>
              <a:ext uri="{FF2B5EF4-FFF2-40B4-BE49-F238E27FC236}">
                <a16:creationId xmlns:a16="http://schemas.microsoft.com/office/drawing/2014/main" id="{C148113E-7764-4986-85D9-B371FA648592}"/>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27" name="Slide Number Placeholder 9">
            <a:extLst>
              <a:ext uri="{FF2B5EF4-FFF2-40B4-BE49-F238E27FC236}">
                <a16:creationId xmlns:a16="http://schemas.microsoft.com/office/drawing/2014/main" id="{F9942D63-C1A4-465E-8957-901189ACC6C7}"/>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7386144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49" y="290335"/>
            <a:ext cx="11188700" cy="307130"/>
          </a:xfrm>
        </p:spPr>
        <p:txBody>
          <a:bodyPr>
            <a:spAutoFit/>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49" y="1700215"/>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400" y="1700215"/>
            <a:ext cx="3683954"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308993" y="1700215"/>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0"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303117"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400" y="3832225"/>
            <a:ext cx="3683954"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49" y="588965"/>
            <a:ext cx="11162350" cy="757255"/>
          </a:xfrm>
          <a:prstGeom prst="rect">
            <a:avLst/>
          </a:prstGeom>
        </p:spPr>
        <p:txBody>
          <a:bodyPr lIns="0" tIns="0" rIns="0" bIns="0">
            <a:noAutofit/>
          </a:bodyPr>
          <a:lstStyle>
            <a:lvl1pPr marL="0" indent="0">
              <a:buNone/>
              <a:defRPr sz="1996" b="0">
                <a:solidFill>
                  <a:srgbClr val="575757"/>
                </a:solidFill>
              </a:defRPr>
            </a:lvl1pPr>
          </a:lstStyle>
          <a:p>
            <a:pPr lvl="0"/>
            <a:r>
              <a:rPr lang="en-US" noProof="0" dirty="0"/>
              <a:t>Click to add subtitle</a:t>
            </a:r>
          </a:p>
        </p:txBody>
      </p:sp>
      <p:sp>
        <p:nvSpPr>
          <p:cNvPr id="16" name="Date Placeholder 7">
            <a:extLst>
              <a:ext uri="{FF2B5EF4-FFF2-40B4-BE49-F238E27FC236}">
                <a16:creationId xmlns:a16="http://schemas.microsoft.com/office/drawing/2014/main" id="{9B5C8316-3CEF-4DBC-BF1A-47B234294977}"/>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7" name="Footer Placeholder 8">
            <a:extLst>
              <a:ext uri="{FF2B5EF4-FFF2-40B4-BE49-F238E27FC236}">
                <a16:creationId xmlns:a16="http://schemas.microsoft.com/office/drawing/2014/main" id="{CC6C909E-D857-46B3-B524-8F4D0466CE85}"/>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8" name="Slide Number Placeholder 9">
            <a:extLst>
              <a:ext uri="{FF2B5EF4-FFF2-40B4-BE49-F238E27FC236}">
                <a16:creationId xmlns:a16="http://schemas.microsoft.com/office/drawing/2014/main" id="{E469438D-A5E2-4F64-BD77-F25CEA2C6E88}"/>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86430939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49" y="588965"/>
            <a:ext cx="11188700"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49" y="290335"/>
            <a:ext cx="11188700"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7" name="Date Placeholder 7">
            <a:extLst>
              <a:ext uri="{FF2B5EF4-FFF2-40B4-BE49-F238E27FC236}">
                <a16:creationId xmlns:a16="http://schemas.microsoft.com/office/drawing/2014/main" id="{317524C9-DD10-403F-A87D-207150BFD252}"/>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8" name="Footer Placeholder 8">
            <a:extLst>
              <a:ext uri="{FF2B5EF4-FFF2-40B4-BE49-F238E27FC236}">
                <a16:creationId xmlns:a16="http://schemas.microsoft.com/office/drawing/2014/main" id="{B86EFAE8-ABBA-4E2F-80F6-EC40FFDEB23A}"/>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9" name="Slide Number Placeholder 9">
            <a:extLst>
              <a:ext uri="{FF2B5EF4-FFF2-40B4-BE49-F238E27FC236}">
                <a16:creationId xmlns:a16="http://schemas.microsoft.com/office/drawing/2014/main" id="{1C1BF10A-1652-4030-AB20-071B6A48C59E}"/>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1078664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01649" y="290335"/>
            <a:ext cx="11188700" cy="307130"/>
          </a:xfrm>
          <a:prstGeom prst="rect">
            <a:avLst/>
          </a:prstGeom>
        </p:spPr>
        <p:txBody>
          <a:bodyPr vert="horz" lIns="0" tIns="0" rIns="0" bIns="0" rtlCol="0" anchor="t" anchorCtr="0">
            <a:spAutoFit/>
          </a:bodyPr>
          <a:lstStyle>
            <a:lvl1pPr>
              <a:defRPr/>
            </a:lvl1pPr>
          </a:lstStyle>
          <a:p>
            <a:r>
              <a:rPr lang="en-US" dirty="0"/>
              <a:t>Click to add title</a:t>
            </a:r>
          </a:p>
        </p:txBody>
      </p:sp>
      <p:sp>
        <p:nvSpPr>
          <p:cNvPr id="7" name="Date Placeholder 7">
            <a:extLst>
              <a:ext uri="{FF2B5EF4-FFF2-40B4-BE49-F238E27FC236}">
                <a16:creationId xmlns:a16="http://schemas.microsoft.com/office/drawing/2014/main" id="{317524C9-DD10-403F-A87D-207150BFD252}"/>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8" name="Footer Placeholder 8">
            <a:extLst>
              <a:ext uri="{FF2B5EF4-FFF2-40B4-BE49-F238E27FC236}">
                <a16:creationId xmlns:a16="http://schemas.microsoft.com/office/drawing/2014/main" id="{B86EFAE8-ABBA-4E2F-80F6-EC40FFDEB23A}"/>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9" name="Slide Number Placeholder 9">
            <a:extLst>
              <a:ext uri="{FF2B5EF4-FFF2-40B4-BE49-F238E27FC236}">
                <a16:creationId xmlns:a16="http://schemas.microsoft.com/office/drawing/2014/main" id="{1C1BF10A-1652-4030-AB20-071B6A48C59E}"/>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30940144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1650" y="1857892"/>
            <a:ext cx="5466824" cy="1695450"/>
          </a:xfrm>
        </p:spPr>
        <p:txBody>
          <a:bodyPr/>
          <a:lstStyle>
            <a:lvl1pPr>
              <a:spcAft>
                <a:spcPts val="1169"/>
              </a:spcAft>
              <a:defRPr b="1">
                <a:solidFill>
                  <a:schemeClr val="accent1"/>
                </a:solidFill>
                <a:latin typeface="+mj-lt"/>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6" y="1857892"/>
            <a:ext cx="5444156" cy="1695450"/>
          </a:xfrm>
        </p:spPr>
        <p:txBody>
          <a:bodyPr/>
          <a:lstStyle>
            <a:lvl1pPr>
              <a:spcAft>
                <a:spcPts val="1169"/>
              </a:spcAft>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49" y="290335"/>
            <a:ext cx="11188700" cy="307130"/>
          </a:xfrm>
        </p:spPr>
        <p:txBody>
          <a:bodyPr>
            <a:spAutoFit/>
          </a:bodyPr>
          <a:lstStyle/>
          <a:p>
            <a:r>
              <a:rPr lang="en-US" noProof="0"/>
              <a:t>Click to edit Master title style</a:t>
            </a:r>
            <a:endParaRPr lang="en-US" noProof="0" dirty="0"/>
          </a:p>
        </p:txBody>
      </p:sp>
      <p:sp>
        <p:nvSpPr>
          <p:cNvPr id="4" name="Rectangle 3"/>
          <p:cNvSpPr/>
          <p:nvPr/>
        </p:nvSpPr>
        <p:spPr>
          <a:xfrm>
            <a:off x="504001"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5" name="Rectangle 4"/>
          <p:cNvSpPr/>
          <p:nvPr/>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6" name="Picture Placeholder 29"/>
          <p:cNvSpPr>
            <a:spLocks noGrp="1"/>
          </p:cNvSpPr>
          <p:nvPr>
            <p:ph type="pic" sz="quarter" idx="19" hasCustomPrompt="1"/>
          </p:nvPr>
        </p:nvSpPr>
        <p:spPr>
          <a:xfrm>
            <a:off x="4769493" y="1863918"/>
            <a:ext cx="1210207"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noProof="0" dirty="0">
                <a:solidFill>
                  <a:schemeClr val="bg1"/>
                </a:solidFill>
              </a:rPr>
              <a:t>Co-brand</a:t>
            </a:r>
            <a:br>
              <a:rPr lang="en-US" sz="1403" noProof="0" dirty="0">
                <a:solidFill>
                  <a:schemeClr val="bg1"/>
                </a:solidFill>
              </a:rPr>
            </a:br>
            <a:r>
              <a:rPr lang="en-US" sz="1403"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9" y="1857894"/>
            <a:ext cx="1244161"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noProof="0" dirty="0">
                <a:solidFill>
                  <a:schemeClr val="bg1"/>
                </a:solidFill>
              </a:rPr>
              <a:t>Co-brand</a:t>
            </a:r>
            <a:br>
              <a:rPr lang="en-US" sz="1403" noProof="0" dirty="0">
                <a:solidFill>
                  <a:schemeClr val="bg1"/>
                </a:solidFill>
              </a:rPr>
            </a:br>
            <a:r>
              <a:rPr lang="en-US" sz="1403"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49" y="588965"/>
            <a:ext cx="11188700" cy="757255"/>
          </a:xfrm>
          <a:prstGeom prst="rect">
            <a:avLst/>
          </a:prstGeom>
        </p:spPr>
        <p:txBody>
          <a:bodyPr lIns="0" tIns="0" rIns="0" bIns="0">
            <a:noAutofit/>
          </a:bodyPr>
          <a:lstStyle>
            <a:lvl1pPr marL="0" indent="0">
              <a:buNone/>
              <a:defRPr sz="1996"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DBDB6A6-081D-47AE-B102-5F147C322548}"/>
              </a:ext>
            </a:extLst>
          </p:cNvPr>
          <p:cNvSpPr/>
          <p:nvPr/>
        </p:nvSpPr>
        <p:spPr>
          <a:xfrm>
            <a:off x="501650"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11" name="Rectangle 10">
            <a:extLst>
              <a:ext uri="{FF2B5EF4-FFF2-40B4-BE49-F238E27FC236}">
                <a16:creationId xmlns:a16="http://schemas.microsoft.com/office/drawing/2014/main" id="{FD793F86-C856-4EF0-B7D3-046C51438F3B}"/>
              </a:ext>
            </a:extLst>
          </p:cNvPr>
          <p:cNvSpPr/>
          <p:nvPr/>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15" name="Date Placeholder 7">
            <a:extLst>
              <a:ext uri="{FF2B5EF4-FFF2-40B4-BE49-F238E27FC236}">
                <a16:creationId xmlns:a16="http://schemas.microsoft.com/office/drawing/2014/main" id="{67CEC321-A536-4D16-A5D7-8EDA1A9A6C0A}"/>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7" name="Footer Placeholder 8">
            <a:extLst>
              <a:ext uri="{FF2B5EF4-FFF2-40B4-BE49-F238E27FC236}">
                <a16:creationId xmlns:a16="http://schemas.microsoft.com/office/drawing/2014/main" id="{A3A04753-70FD-46E2-B3FE-FEF33BD075A1}"/>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8" name="Slide Number Placeholder 9">
            <a:extLst>
              <a:ext uri="{FF2B5EF4-FFF2-40B4-BE49-F238E27FC236}">
                <a16:creationId xmlns:a16="http://schemas.microsoft.com/office/drawing/2014/main" id="{1C6415DA-9C37-40C1-ABEF-E4C3F41AD333}"/>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2082047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1650" y="1857892"/>
            <a:ext cx="5468941" cy="1695450"/>
          </a:xfrm>
        </p:spPr>
        <p:txBody>
          <a:bodyPr/>
          <a:lstStyle>
            <a:lvl1pPr>
              <a:spcAft>
                <a:spcPts val="1169"/>
              </a:spcAft>
              <a:defRPr b="1">
                <a:solidFill>
                  <a:schemeClr val="accent1"/>
                </a:solidFill>
                <a:latin typeface="+mj-lt"/>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169"/>
              </a:spcAft>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49" y="290335"/>
            <a:ext cx="11188700" cy="307130"/>
          </a:xfrm>
        </p:spPr>
        <p:txBody>
          <a:bodyPr>
            <a:spAutoFit/>
          </a:bodyPr>
          <a:lstStyle/>
          <a:p>
            <a:r>
              <a:rPr lang="en-US"/>
              <a:t>Click to edit Master title style</a:t>
            </a:r>
            <a:endParaRPr lang="en-GB" dirty="0"/>
          </a:p>
        </p:txBody>
      </p:sp>
      <p:sp>
        <p:nvSpPr>
          <p:cNvPr id="4" name="Rectangle 3"/>
          <p:cNvSpPr/>
          <p:nvPr/>
        </p:nvSpPr>
        <p:spPr>
          <a:xfrm>
            <a:off x="504001"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6" dirty="0">
              <a:solidFill>
                <a:schemeClr val="bg1"/>
              </a:solidFill>
            </a:endParaRPr>
          </a:p>
        </p:txBody>
      </p:sp>
      <p:sp>
        <p:nvSpPr>
          <p:cNvPr id="5" name="Rectangle 4"/>
          <p:cNvSpPr/>
          <p:nvPr/>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6" dirty="0">
              <a:solidFill>
                <a:schemeClr val="bg1"/>
              </a:solidFill>
            </a:endParaRPr>
          </a:p>
        </p:txBody>
      </p:sp>
      <p:sp>
        <p:nvSpPr>
          <p:cNvPr id="7" name="Picture Placeholder 29"/>
          <p:cNvSpPr>
            <a:spLocks noGrp="1"/>
          </p:cNvSpPr>
          <p:nvPr>
            <p:ph type="pic" sz="quarter" idx="20" hasCustomPrompt="1"/>
          </p:nvPr>
        </p:nvSpPr>
        <p:spPr>
          <a:xfrm>
            <a:off x="10424619" y="1857894"/>
            <a:ext cx="1244161"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dirty="0">
                <a:solidFill>
                  <a:schemeClr val="bg1"/>
                </a:solidFill>
              </a:rPr>
              <a:t>Co-brand</a:t>
            </a:r>
            <a:br>
              <a:rPr lang="en-US" sz="1403" dirty="0">
                <a:solidFill>
                  <a:schemeClr val="bg1"/>
                </a:solidFill>
              </a:rPr>
            </a:br>
            <a:r>
              <a:rPr lang="en-US" sz="1403" dirty="0">
                <a:solidFill>
                  <a:schemeClr val="bg1"/>
                </a:solidFill>
              </a:rPr>
              <a:t>Logo</a:t>
            </a:r>
          </a:p>
          <a:p>
            <a:endParaRPr lang="en-GB" dirty="0"/>
          </a:p>
        </p:txBody>
      </p:sp>
      <p:sp>
        <p:nvSpPr>
          <p:cNvPr id="10" name="Text Placeholder 8"/>
          <p:cNvSpPr>
            <a:spLocks noGrp="1"/>
          </p:cNvSpPr>
          <p:nvPr>
            <p:ph type="body" sz="quarter" idx="22"/>
          </p:nvPr>
        </p:nvSpPr>
        <p:spPr>
          <a:xfrm>
            <a:off x="501650" y="4249682"/>
            <a:ext cx="5466824" cy="1695450"/>
          </a:xfrm>
        </p:spPr>
        <p:txBody>
          <a:bodyPr/>
          <a:lstStyle>
            <a:lvl1pPr>
              <a:spcAft>
                <a:spcPts val="1169"/>
              </a:spcAft>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6" y="4249682"/>
            <a:ext cx="5452958" cy="1695450"/>
          </a:xfrm>
        </p:spPr>
        <p:txBody>
          <a:bodyPr/>
          <a:lstStyle>
            <a:lvl1pPr>
              <a:spcAft>
                <a:spcPts val="1169"/>
              </a:spcAft>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2"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6" dirty="0">
              <a:solidFill>
                <a:schemeClr val="bg1"/>
              </a:solidFill>
            </a:endParaRPr>
          </a:p>
        </p:txBody>
      </p:sp>
      <p:sp>
        <p:nvSpPr>
          <p:cNvPr id="13" name="Rectangle 12"/>
          <p:cNvSpPr/>
          <p:nvPr/>
        </p:nvSpPr>
        <p:spPr>
          <a:xfrm>
            <a:off x="6246196"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6" dirty="0">
              <a:solidFill>
                <a:schemeClr val="bg1"/>
              </a:solidFill>
            </a:endParaRPr>
          </a:p>
        </p:txBody>
      </p:sp>
      <p:sp>
        <p:nvSpPr>
          <p:cNvPr id="14" name="Picture Placeholder 29"/>
          <p:cNvSpPr>
            <a:spLocks noGrp="1"/>
          </p:cNvSpPr>
          <p:nvPr>
            <p:ph type="pic" sz="quarter" idx="24" hasCustomPrompt="1"/>
          </p:nvPr>
        </p:nvSpPr>
        <p:spPr>
          <a:xfrm>
            <a:off x="4754495" y="4255707"/>
            <a:ext cx="1239381"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dirty="0">
                <a:solidFill>
                  <a:schemeClr val="bg1"/>
                </a:solidFill>
              </a:rPr>
              <a:t>Co-brand</a:t>
            </a:r>
            <a:br>
              <a:rPr lang="en-US" sz="1403" dirty="0">
                <a:solidFill>
                  <a:schemeClr val="bg1"/>
                </a:solidFill>
              </a:rPr>
            </a:br>
            <a:r>
              <a:rPr lang="en-US" sz="1403"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dirty="0">
                <a:solidFill>
                  <a:schemeClr val="bg1"/>
                </a:solidFill>
              </a:rPr>
              <a:t>Co-brand</a:t>
            </a:r>
            <a:br>
              <a:rPr lang="en-US" sz="1403" dirty="0">
                <a:solidFill>
                  <a:schemeClr val="bg1"/>
                </a:solidFill>
              </a:rPr>
            </a:br>
            <a:r>
              <a:rPr lang="en-US" sz="1403"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49" y="588965"/>
            <a:ext cx="11197501" cy="757255"/>
          </a:xfrm>
          <a:prstGeom prst="rect">
            <a:avLst/>
          </a:prstGeom>
        </p:spPr>
        <p:txBody>
          <a:bodyPr lIns="0" tIns="0" rIns="0" bIns="0">
            <a:noAutofit/>
          </a:bodyPr>
          <a:lstStyle>
            <a:lvl1pPr marL="0" indent="0">
              <a:buNone/>
              <a:defRPr sz="1996"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3" y="1863918"/>
            <a:ext cx="1210207"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dirty="0">
                <a:solidFill>
                  <a:schemeClr val="bg1"/>
                </a:solidFill>
              </a:rPr>
              <a:t>Co-brand</a:t>
            </a:r>
            <a:br>
              <a:rPr lang="en-US" sz="1403" dirty="0">
                <a:solidFill>
                  <a:schemeClr val="bg1"/>
                </a:solidFill>
              </a:rPr>
            </a:br>
            <a:r>
              <a:rPr lang="en-US" sz="1403" dirty="0">
                <a:solidFill>
                  <a:schemeClr val="bg1"/>
                </a:solidFill>
              </a:rPr>
              <a:t>Logo</a:t>
            </a:r>
          </a:p>
          <a:p>
            <a:endParaRPr lang="en-GB" dirty="0"/>
          </a:p>
        </p:txBody>
      </p:sp>
      <p:sp>
        <p:nvSpPr>
          <p:cNvPr id="18" name="Rectangle 17">
            <a:extLst>
              <a:ext uri="{FF2B5EF4-FFF2-40B4-BE49-F238E27FC236}">
                <a16:creationId xmlns:a16="http://schemas.microsoft.com/office/drawing/2014/main" id="{EA85C88C-90C6-43DC-9A4C-58A4C0BA1F97}"/>
              </a:ext>
            </a:extLst>
          </p:cNvPr>
          <p:cNvSpPr/>
          <p:nvPr/>
        </p:nvSpPr>
        <p:spPr>
          <a:xfrm>
            <a:off x="501650"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19" name="Rectangle 18">
            <a:extLst>
              <a:ext uri="{FF2B5EF4-FFF2-40B4-BE49-F238E27FC236}">
                <a16:creationId xmlns:a16="http://schemas.microsoft.com/office/drawing/2014/main" id="{C93583D3-2ECA-4EAE-ABCB-5AE52087BD26}"/>
              </a:ext>
            </a:extLst>
          </p:cNvPr>
          <p:cNvSpPr/>
          <p:nvPr/>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0" name="Rectangle 19">
            <a:extLst>
              <a:ext uri="{FF2B5EF4-FFF2-40B4-BE49-F238E27FC236}">
                <a16:creationId xmlns:a16="http://schemas.microsoft.com/office/drawing/2014/main" id="{8472F893-FB10-474A-AC95-BCC33ECE8AAB}"/>
              </a:ext>
            </a:extLst>
          </p:cNvPr>
          <p:cNvSpPr/>
          <p:nvPr/>
        </p:nvSpPr>
        <p:spPr>
          <a:xfrm>
            <a:off x="501650"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1" name="Rectangle 20">
            <a:extLst>
              <a:ext uri="{FF2B5EF4-FFF2-40B4-BE49-F238E27FC236}">
                <a16:creationId xmlns:a16="http://schemas.microsoft.com/office/drawing/2014/main" id="{9BD7F804-E5A5-48DB-81A1-D1AC213808D6}"/>
              </a:ext>
            </a:extLst>
          </p:cNvPr>
          <p:cNvSpPr/>
          <p:nvPr/>
        </p:nvSpPr>
        <p:spPr>
          <a:xfrm>
            <a:off x="6246196"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5" name="Date Placeholder 7">
            <a:extLst>
              <a:ext uri="{FF2B5EF4-FFF2-40B4-BE49-F238E27FC236}">
                <a16:creationId xmlns:a16="http://schemas.microsoft.com/office/drawing/2014/main" id="{DCEDF1EA-9CD5-48DB-A1FD-614EB9405592}"/>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26" name="Footer Placeholder 8">
            <a:extLst>
              <a:ext uri="{FF2B5EF4-FFF2-40B4-BE49-F238E27FC236}">
                <a16:creationId xmlns:a16="http://schemas.microsoft.com/office/drawing/2014/main" id="{675D992B-DE0B-47B5-812A-B8D74F935A5A}"/>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27" name="Slide Number Placeholder 9">
            <a:extLst>
              <a:ext uri="{FF2B5EF4-FFF2-40B4-BE49-F238E27FC236}">
                <a16:creationId xmlns:a16="http://schemas.microsoft.com/office/drawing/2014/main" id="{8FC4EE35-2ED9-44D9-9B81-566E4332B07C}"/>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428581564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0" y="1705671"/>
            <a:ext cx="10541000" cy="1592403"/>
          </a:xfrm>
        </p:spPr>
        <p:txBody>
          <a:bodyPr anchor="b"/>
          <a:lstStyle>
            <a:lvl1pPr>
              <a:lnSpc>
                <a:spcPct val="95000"/>
              </a:lnSpc>
              <a:defRPr sz="3266"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0" y="3429001"/>
            <a:ext cx="10541000" cy="1566532"/>
          </a:xfrm>
        </p:spPr>
        <p:txBody>
          <a:bodyPr lIns="0" tIns="0" rIns="0" bIns="0">
            <a:noAutofit/>
          </a:bodyPr>
          <a:lstStyle>
            <a:lvl1pPr marL="0" indent="0">
              <a:lnSpc>
                <a:spcPct val="95000"/>
              </a:lnSpc>
              <a:spcAft>
                <a:spcPts val="0"/>
              </a:spcAft>
              <a:buNone/>
              <a:defRPr sz="3266">
                <a:solidFill>
                  <a:schemeClr val="tx1"/>
                </a:solidFill>
                <a:latin typeface="+mn-lt"/>
                <a:cs typeface="Calibri" panose="020F0502020204030204" pitchFamily="34" charset="0"/>
              </a:defRPr>
            </a:lvl1pPr>
            <a:lvl2pPr marL="534608" indent="0">
              <a:buNone/>
              <a:defRPr sz="2339">
                <a:solidFill>
                  <a:schemeClr val="tx1">
                    <a:tint val="75000"/>
                  </a:schemeClr>
                </a:solidFill>
              </a:defRPr>
            </a:lvl2pPr>
            <a:lvl3pPr marL="1069215" indent="0">
              <a:buNone/>
              <a:defRPr sz="2105">
                <a:solidFill>
                  <a:schemeClr val="tx1">
                    <a:tint val="75000"/>
                  </a:schemeClr>
                </a:solidFill>
              </a:defRPr>
            </a:lvl3pPr>
            <a:lvl4pPr marL="1603823" indent="0">
              <a:buNone/>
              <a:defRPr sz="1871">
                <a:solidFill>
                  <a:schemeClr val="tx1">
                    <a:tint val="75000"/>
                  </a:schemeClr>
                </a:solidFill>
              </a:defRPr>
            </a:lvl4pPr>
            <a:lvl5pPr marL="2138430" indent="0">
              <a:buNone/>
              <a:defRPr sz="1871">
                <a:solidFill>
                  <a:schemeClr val="tx1">
                    <a:tint val="75000"/>
                  </a:schemeClr>
                </a:solidFill>
              </a:defRPr>
            </a:lvl5pPr>
            <a:lvl6pPr marL="2673038" indent="0">
              <a:buNone/>
              <a:defRPr sz="1871">
                <a:solidFill>
                  <a:schemeClr val="tx1">
                    <a:tint val="75000"/>
                  </a:schemeClr>
                </a:solidFill>
              </a:defRPr>
            </a:lvl6pPr>
            <a:lvl7pPr marL="3207645" indent="0">
              <a:buNone/>
              <a:defRPr sz="1871">
                <a:solidFill>
                  <a:schemeClr val="tx1">
                    <a:tint val="75000"/>
                  </a:schemeClr>
                </a:solidFill>
              </a:defRPr>
            </a:lvl7pPr>
            <a:lvl8pPr marL="3742253" indent="0">
              <a:buNone/>
              <a:defRPr sz="1871">
                <a:solidFill>
                  <a:schemeClr val="tx1">
                    <a:tint val="75000"/>
                  </a:schemeClr>
                </a:solidFill>
              </a:defRPr>
            </a:lvl8pPr>
            <a:lvl9pPr marL="4276860" indent="0">
              <a:buNone/>
              <a:defRPr sz="1871">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65157939-548B-4915-86E8-E80B6FA221C3}"/>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8" name="Footer Placeholder 8">
            <a:extLst>
              <a:ext uri="{FF2B5EF4-FFF2-40B4-BE49-F238E27FC236}">
                <a16:creationId xmlns:a16="http://schemas.microsoft.com/office/drawing/2014/main" id="{B27E5292-9E6C-47AF-827C-D64AEBA6033E}"/>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9" name="Slide Number Placeholder 9">
            <a:extLst>
              <a:ext uri="{FF2B5EF4-FFF2-40B4-BE49-F238E27FC236}">
                <a16:creationId xmlns:a16="http://schemas.microsoft.com/office/drawing/2014/main" id="{CEBDC2BA-D778-4D35-90CE-7B2BBF1211B2}"/>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716620736"/>
      </p:ext>
    </p:extLst>
  </p:cSld>
  <p:clrMapOvr>
    <a:masterClrMapping/>
  </p:clrMapOvr>
  <p:transition>
    <p:fade/>
  </p:transition>
  <p:extLst>
    <p:ext uri="{DCECCB84-F9BA-43D5-87BE-67443E8EF086}">
      <p15:sldGuideLst xmlns:p15="http://schemas.microsoft.com/office/powerpoint/2012/main">
        <p15:guide id="1" orient="horz" pos="238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49" y="290335"/>
            <a:ext cx="11188700" cy="309820"/>
          </a:xfrm>
        </p:spPr>
        <p:txBody>
          <a:bodyPr>
            <a:spAutoFit/>
          </a:bodyPr>
          <a:lstStyle/>
          <a:p>
            <a:r>
              <a:rPr lang="en-US" noProof="0"/>
              <a:t>Click to edit Master title style</a:t>
            </a:r>
            <a:endParaRPr lang="en-US" noProof="0" dirty="0"/>
          </a:p>
        </p:txBody>
      </p:sp>
      <p:sp>
        <p:nvSpPr>
          <p:cNvPr id="4" name="Rectangle 3"/>
          <p:cNvSpPr/>
          <p:nvPr/>
        </p:nvSpPr>
        <p:spPr>
          <a:xfrm>
            <a:off x="4320000" y="1705969"/>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5" name="Rectangle 4"/>
          <p:cNvSpPr/>
          <p:nvPr/>
        </p:nvSpPr>
        <p:spPr>
          <a:xfrm>
            <a:off x="504002"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6" name="Rectangle 5"/>
          <p:cNvSpPr/>
          <p:nvPr/>
        </p:nvSpPr>
        <p:spPr>
          <a:xfrm>
            <a:off x="8115300" y="1705969"/>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7" name="Text Placeholder 8"/>
          <p:cNvSpPr>
            <a:spLocks noGrp="1"/>
          </p:cNvSpPr>
          <p:nvPr>
            <p:ph type="body" sz="quarter" idx="17"/>
          </p:nvPr>
        </p:nvSpPr>
        <p:spPr>
          <a:xfrm>
            <a:off x="4350540" y="1851441"/>
            <a:ext cx="3540578" cy="3845754"/>
          </a:xfrm>
        </p:spPr>
        <p:txBody>
          <a:bodyPr/>
          <a:lstStyle>
            <a:lvl1pPr>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1650" y="1851441"/>
            <a:ext cx="3560000" cy="3845754"/>
          </a:xfrm>
        </p:spPr>
        <p:txBody>
          <a:bodyPr/>
          <a:lstStyle>
            <a:lvl1pPr>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49" y="588965"/>
            <a:ext cx="11162350" cy="757255"/>
          </a:xfrm>
          <a:prstGeom prst="rect">
            <a:avLst/>
          </a:prstGeom>
        </p:spPr>
        <p:txBody>
          <a:bodyPr lIns="0" tIns="0" rIns="0" bIns="0">
            <a:noAutofit/>
          </a:bodyPr>
          <a:lstStyle>
            <a:lvl1pPr marL="0" indent="0">
              <a:buNone/>
              <a:defRPr sz="1996"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A820A274-4ADB-4809-84D4-900FDD40E432}"/>
              </a:ext>
            </a:extLst>
          </p:cNvPr>
          <p:cNvSpPr/>
          <p:nvPr/>
        </p:nvSpPr>
        <p:spPr>
          <a:xfrm>
            <a:off x="4344827" y="1705969"/>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12" name="Rectangle 11">
            <a:extLst>
              <a:ext uri="{FF2B5EF4-FFF2-40B4-BE49-F238E27FC236}">
                <a16:creationId xmlns:a16="http://schemas.microsoft.com/office/drawing/2014/main" id="{92AE089E-4A0A-4EC7-9961-71221BF50F81}"/>
              </a:ext>
            </a:extLst>
          </p:cNvPr>
          <p:cNvSpPr/>
          <p:nvPr/>
        </p:nvSpPr>
        <p:spPr>
          <a:xfrm>
            <a:off x="50165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13" name="Rectangle 12">
            <a:extLst>
              <a:ext uri="{FF2B5EF4-FFF2-40B4-BE49-F238E27FC236}">
                <a16:creationId xmlns:a16="http://schemas.microsoft.com/office/drawing/2014/main" id="{81F94FD0-40C2-4639-AF6C-A43126827B59}"/>
              </a:ext>
            </a:extLst>
          </p:cNvPr>
          <p:cNvSpPr/>
          <p:nvPr/>
        </p:nvSpPr>
        <p:spPr>
          <a:xfrm>
            <a:off x="8115300" y="1705969"/>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17" name="Date Placeholder 7">
            <a:extLst>
              <a:ext uri="{FF2B5EF4-FFF2-40B4-BE49-F238E27FC236}">
                <a16:creationId xmlns:a16="http://schemas.microsoft.com/office/drawing/2014/main" id="{DE6A0F71-6D0E-4A55-B047-B94C086A124B}"/>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8" name="Footer Placeholder 8">
            <a:extLst>
              <a:ext uri="{FF2B5EF4-FFF2-40B4-BE49-F238E27FC236}">
                <a16:creationId xmlns:a16="http://schemas.microsoft.com/office/drawing/2014/main" id="{FBDF4EDC-A7B2-4776-BF9A-72EF267B159B}"/>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9" name="Slide Number Placeholder 9">
            <a:extLst>
              <a:ext uri="{FF2B5EF4-FFF2-40B4-BE49-F238E27FC236}">
                <a16:creationId xmlns:a16="http://schemas.microsoft.com/office/drawing/2014/main" id="{CA4D96F2-B396-4810-8F75-DC976A3E60D7}"/>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295119856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49" y="290335"/>
            <a:ext cx="11188700" cy="307130"/>
          </a:xfrm>
        </p:spPr>
        <p:txBody>
          <a:bodyPr>
            <a:spAutoFit/>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1650" y="2556000"/>
            <a:ext cx="2592000" cy="3394800"/>
          </a:xfrm>
        </p:spPr>
        <p:txBody>
          <a:bodyPr/>
          <a:lstStyle>
            <a:lvl1pPr>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8" y="2556000"/>
            <a:ext cx="2592000" cy="3394800"/>
          </a:xfrm>
        </p:spPr>
        <p:txBody>
          <a:bodyPr/>
          <a:lstStyle>
            <a:lvl1pPr>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414604" y="2556000"/>
            <a:ext cx="2592000" cy="3394800"/>
          </a:xfrm>
        </p:spPr>
        <p:txBody>
          <a:bodyPr/>
          <a:lstStyle>
            <a:lvl1pPr>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55721" y="2556000"/>
            <a:ext cx="2592000" cy="3394800"/>
          </a:xfrm>
        </p:spPr>
        <p:txBody>
          <a:bodyPr/>
          <a:lstStyle>
            <a:lvl1pPr>
              <a:defRPr b="1">
                <a:solidFill>
                  <a:schemeClr val="accent1"/>
                </a:solidFill>
              </a:defRPr>
            </a:lvl1pPr>
            <a:lvl2pPr>
              <a:spcAft>
                <a:spcPts val="1169"/>
              </a:spcAft>
              <a:defRPr/>
            </a:lvl2pPr>
            <a:lvl3pPr marL="0" indent="0">
              <a:spcAft>
                <a:spcPts val="1169"/>
              </a:spcAft>
              <a:buNone/>
              <a:defRPr/>
            </a:lvl3pPr>
            <a:lvl4pPr marL="206266" indent="-206266">
              <a:spcAft>
                <a:spcPts val="1169"/>
              </a:spcAft>
              <a:buFont typeface="Arial" panose="020B0604020202020204" pitchFamily="34" charset="0"/>
              <a:buChar char="•"/>
              <a:defRPr/>
            </a:lvl4pPr>
            <a:lvl5pPr marL="416741" indent="-206266">
              <a:spcAft>
                <a:spcPts val="1169"/>
              </a:spcAft>
              <a:defRPr baseline="0"/>
            </a:lvl5pPr>
            <a:lvl6pPr marL="416741" indent="-206266">
              <a:spcAft>
                <a:spcPts val="1169"/>
              </a:spcAft>
              <a:buFont typeface="Verdana" panose="020B0604030504040204" pitchFamily="34" charset="0"/>
              <a:buChar char="−"/>
              <a:defRPr/>
            </a:lvl6pPr>
            <a:lvl7pPr marL="416741" indent="-206266">
              <a:spcAft>
                <a:spcPts val="1169"/>
              </a:spcAft>
              <a:defRPr/>
            </a:lvl7pPr>
            <a:lvl8pPr marL="416741" indent="-206266">
              <a:spcAft>
                <a:spcPts val="1169"/>
              </a:spcAft>
              <a:defRPr/>
            </a:lvl8pPr>
            <a:lvl9pPr marL="416741" indent="-206266">
              <a:spcAft>
                <a:spcPts val="1169"/>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49" y="588965"/>
            <a:ext cx="11188700" cy="757255"/>
          </a:xfrm>
          <a:prstGeom prst="rect">
            <a:avLst/>
          </a:prstGeom>
        </p:spPr>
        <p:txBody>
          <a:bodyPr lIns="0" tIns="0" rIns="0" bIns="0">
            <a:noAutofit/>
          </a:bodyPr>
          <a:lstStyle>
            <a:lvl1pPr marL="0" indent="0">
              <a:buNone/>
              <a:defRPr sz="1996" b="0">
                <a:solidFill>
                  <a:srgbClr val="575757"/>
                </a:solidFill>
              </a:defRPr>
            </a:lvl1pPr>
          </a:lstStyle>
          <a:p>
            <a:pPr lvl="0"/>
            <a:r>
              <a:rPr lang="en-US" noProof="0" dirty="0"/>
              <a:t>Click to add subtitle</a:t>
            </a:r>
          </a:p>
        </p:txBody>
      </p:sp>
      <p:sp>
        <p:nvSpPr>
          <p:cNvPr id="12" name="Date Placeholder 7">
            <a:extLst>
              <a:ext uri="{FF2B5EF4-FFF2-40B4-BE49-F238E27FC236}">
                <a16:creationId xmlns:a16="http://schemas.microsoft.com/office/drawing/2014/main" id="{12C6383B-FF54-41B4-8FA9-C8A647495615}"/>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3" name="Footer Placeholder 8">
            <a:extLst>
              <a:ext uri="{FF2B5EF4-FFF2-40B4-BE49-F238E27FC236}">
                <a16:creationId xmlns:a16="http://schemas.microsoft.com/office/drawing/2014/main" id="{345A9F0B-5206-4F14-8A42-C81829804D4D}"/>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4" name="Slide Number Placeholder 9">
            <a:extLst>
              <a:ext uri="{FF2B5EF4-FFF2-40B4-BE49-F238E27FC236}">
                <a16:creationId xmlns:a16="http://schemas.microsoft.com/office/drawing/2014/main" id="{949A261E-323C-4BF4-8FC9-5721D05C3C73}"/>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4346846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a:xfrm>
            <a:off x="9370849" y="6018028"/>
            <a:ext cx="2319501" cy="363722"/>
          </a:xfrm>
        </p:spPr>
        <p:txBody>
          <a:bodyPr anchor="b" anchorCtr="0">
            <a:normAutofit/>
          </a:bodyPr>
          <a:lstStyle>
            <a:lvl1pPr>
              <a:lnSpc>
                <a:spcPct val="100000"/>
              </a:lnSpc>
              <a:defRPr sz="816"/>
            </a:lvl1pPr>
          </a:lstStyle>
          <a:p>
            <a:pPr lvl="0"/>
            <a:r>
              <a:rPr lang="en-US"/>
              <a:t>Click to edit Master text styles</a:t>
            </a:r>
          </a:p>
        </p:txBody>
      </p:sp>
      <p:grpSp>
        <p:nvGrpSpPr>
          <p:cNvPr id="38" name="Group 37">
            <a:extLst>
              <a:ext uri="{FF2B5EF4-FFF2-40B4-BE49-F238E27FC236}">
                <a16:creationId xmlns:a16="http://schemas.microsoft.com/office/drawing/2014/main" id="{44EC6D8E-9CEE-4EB1-BEC9-6B84C8CE6166}"/>
              </a:ext>
            </a:extLst>
          </p:cNvPr>
          <p:cNvGrpSpPr>
            <a:grpSpLocks noChangeAspect="1"/>
          </p:cNvGrpSpPr>
          <p:nvPr/>
        </p:nvGrpSpPr>
        <p:grpSpPr>
          <a:xfrm>
            <a:off x="431028" y="342914"/>
            <a:ext cx="2293942" cy="346941"/>
            <a:chOff x="398463" y="404813"/>
            <a:chExt cx="1627187" cy="307976"/>
          </a:xfrm>
          <a:solidFill>
            <a:schemeClr val="tx1"/>
          </a:solidFill>
        </p:grpSpPr>
        <p:sp>
          <p:nvSpPr>
            <p:cNvPr id="39" name="Oval 5">
              <a:extLst>
                <a:ext uri="{FF2B5EF4-FFF2-40B4-BE49-F238E27FC236}">
                  <a16:creationId xmlns:a16="http://schemas.microsoft.com/office/drawing/2014/main" id="{0FDB96F3-ABDD-4C18-BECB-D5C606099392}"/>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40" name="Freeform 6">
              <a:extLst>
                <a:ext uri="{FF2B5EF4-FFF2-40B4-BE49-F238E27FC236}">
                  <a16:creationId xmlns:a16="http://schemas.microsoft.com/office/drawing/2014/main" id="{6B5272FE-0F6C-45C3-8C84-B054C8376D0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41" name="Rectangle 7">
              <a:extLst>
                <a:ext uri="{FF2B5EF4-FFF2-40B4-BE49-F238E27FC236}">
                  <a16:creationId xmlns:a16="http://schemas.microsoft.com/office/drawing/2014/main" id="{B7BAE4D7-A295-4DB9-8B55-91A8A2DD83CB}"/>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42" name="Freeform 8">
              <a:extLst>
                <a:ext uri="{FF2B5EF4-FFF2-40B4-BE49-F238E27FC236}">
                  <a16:creationId xmlns:a16="http://schemas.microsoft.com/office/drawing/2014/main" id="{52E562C0-3721-457F-822B-A0C0EA8E6BC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43" name="Rectangle 9">
              <a:extLst>
                <a:ext uri="{FF2B5EF4-FFF2-40B4-BE49-F238E27FC236}">
                  <a16:creationId xmlns:a16="http://schemas.microsoft.com/office/drawing/2014/main" id="{CB38A920-B980-4994-BE45-99697FE9FCA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44" name="Rectangle 10">
              <a:extLst>
                <a:ext uri="{FF2B5EF4-FFF2-40B4-BE49-F238E27FC236}">
                  <a16:creationId xmlns:a16="http://schemas.microsoft.com/office/drawing/2014/main" id="{B8AB7E81-2D45-4F79-82DF-302A4149E65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45" name="Freeform 11">
              <a:extLst>
                <a:ext uri="{FF2B5EF4-FFF2-40B4-BE49-F238E27FC236}">
                  <a16:creationId xmlns:a16="http://schemas.microsoft.com/office/drawing/2014/main" id="{01083FF4-5C95-472A-A37C-3FB3F3BF9C2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46" name="Freeform 12">
              <a:extLst>
                <a:ext uri="{FF2B5EF4-FFF2-40B4-BE49-F238E27FC236}">
                  <a16:creationId xmlns:a16="http://schemas.microsoft.com/office/drawing/2014/main" id="{10FEE41E-8814-490E-ACF5-D3FAE6F14C4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47" name="Freeform 13">
              <a:extLst>
                <a:ext uri="{FF2B5EF4-FFF2-40B4-BE49-F238E27FC236}">
                  <a16:creationId xmlns:a16="http://schemas.microsoft.com/office/drawing/2014/main" id="{0F5E528D-25B3-49EA-A0AA-812C63624D4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48" name="Freeform 14">
              <a:extLst>
                <a:ext uri="{FF2B5EF4-FFF2-40B4-BE49-F238E27FC236}">
                  <a16:creationId xmlns:a16="http://schemas.microsoft.com/office/drawing/2014/main" id="{29FF7858-9A6F-48F9-9245-62C7B5420D5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grpSp>
      <p:sp>
        <p:nvSpPr>
          <p:cNvPr id="4" name="Text Placeholder 3">
            <a:extLst>
              <a:ext uri="{FF2B5EF4-FFF2-40B4-BE49-F238E27FC236}">
                <a16:creationId xmlns:a16="http://schemas.microsoft.com/office/drawing/2014/main" id="{772863CF-CB32-4FCE-8025-C45C9C7EB499}"/>
              </a:ext>
            </a:extLst>
          </p:cNvPr>
          <p:cNvSpPr>
            <a:spLocks noGrp="1"/>
          </p:cNvSpPr>
          <p:nvPr>
            <p:ph type="body" sz="quarter" idx="16"/>
          </p:nvPr>
        </p:nvSpPr>
        <p:spPr>
          <a:xfrm>
            <a:off x="501654" y="4211955"/>
            <a:ext cx="8528936" cy="2169796"/>
          </a:xfrm>
        </p:spPr>
        <p:txBody>
          <a:bodyPr anchor="b">
            <a:normAutofit/>
          </a:bodyPr>
          <a:lstStyle>
            <a:lvl1pPr>
              <a:defRPr sz="816"/>
            </a:lvl1pPr>
            <a:lvl2pPr>
              <a:defRPr sz="816"/>
            </a:lvl2pPr>
            <a:lvl3pPr>
              <a:defRPr sz="816"/>
            </a:lvl3pPr>
            <a:lvl4pPr>
              <a:defRPr sz="816"/>
            </a:lvl4pPr>
            <a:lvl5pPr>
              <a:defRPr sz="81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19192960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028BB-3946-4A78-A46E-126AC3DBEC21}"/>
              </a:ext>
            </a:extLst>
          </p:cNvPr>
          <p:cNvSpPr>
            <a:spLocks noGrp="1"/>
          </p:cNvSpPr>
          <p:nvPr>
            <p:ph type="title" idx="10" hasCustomPrompt="1"/>
          </p:nvPr>
        </p:nvSpPr>
        <p:spPr/>
        <p:txBody>
          <a:bodyPr/>
          <a:lstStyle/>
          <a:p>
            <a:r>
              <a:rPr lang="en-US"/>
              <a:t>Agenda</a:t>
            </a:r>
            <a:endParaRPr lang="fr-FR"/>
          </a:p>
        </p:txBody>
      </p:sp>
      <p:grpSp>
        <p:nvGrpSpPr>
          <p:cNvPr id="94" name="SP Agenda Section" hidden="1">
            <a:extLst>
              <a:ext uri="{FF2B5EF4-FFF2-40B4-BE49-F238E27FC236}">
                <a16:creationId xmlns:a16="http://schemas.microsoft.com/office/drawing/2014/main" id="{BEFAC56D-F5CD-42EA-8D01-D8FBA733AFCC}"/>
              </a:ext>
            </a:extLst>
          </p:cNvPr>
          <p:cNvGrpSpPr/>
          <p:nvPr/>
        </p:nvGrpSpPr>
        <p:grpSpPr>
          <a:xfrm>
            <a:off x="602314" y="1515695"/>
            <a:ext cx="11088036" cy="369332"/>
            <a:chOff x="528202" y="1750633"/>
            <a:chExt cx="8426968" cy="407120"/>
          </a:xfrm>
        </p:grpSpPr>
        <p:sp>
          <p:nvSpPr>
            <p:cNvPr id="95" name="Section Title" hidden="1">
              <a:extLst>
                <a:ext uri="{FF2B5EF4-FFF2-40B4-BE49-F238E27FC236}">
                  <a16:creationId xmlns:a16="http://schemas.microsoft.com/office/drawing/2014/main" id="{D01E59BC-E2B8-40E9-9F2C-DACF35D20F38}"/>
                </a:ext>
              </a:extLst>
            </p:cNvPr>
            <p:cNvSpPr txBox="1">
              <a:spLocks/>
            </p:cNvSpPr>
            <p:nvPr/>
          </p:nvSpPr>
          <p:spPr>
            <a:xfrm>
              <a:off x="939981" y="1757283"/>
              <a:ext cx="3370436" cy="387048"/>
            </a:xfrm>
            <a:prstGeom prst="rect">
              <a:avLst/>
            </a:prstGeom>
            <a:noFill/>
          </p:spPr>
          <p:txBody>
            <a:bodyPr wrap="square" rtlCol="0" anchor="ctr">
              <a:normAutofit/>
            </a:bodyPr>
            <a:lstStyle/>
            <a:p>
              <a:pPr defTabSz="7426477">
                <a:tabLst>
                  <a:tab pos="7567933" algn="l"/>
                </a:tabLst>
              </a:pPr>
              <a:r>
                <a:rPr lang="en-US" sz="1452" b="1" dirty="0">
                  <a:solidFill>
                    <a:schemeClr val="tx1"/>
                  </a:solidFill>
                </a:rPr>
                <a:t>&lt;TEXT&gt;</a:t>
              </a:r>
            </a:p>
          </p:txBody>
        </p:sp>
        <p:sp>
          <p:nvSpPr>
            <p:cNvPr id="96" name="Section Number" hidden="1">
              <a:extLst>
                <a:ext uri="{FF2B5EF4-FFF2-40B4-BE49-F238E27FC236}">
                  <a16:creationId xmlns:a16="http://schemas.microsoft.com/office/drawing/2014/main" id="{CB442904-0CE0-49A9-A203-75E91BFF1A2B}"/>
                </a:ext>
              </a:extLst>
            </p:cNvPr>
            <p:cNvSpPr txBox="1">
              <a:spLocks/>
            </p:cNvSpPr>
            <p:nvPr/>
          </p:nvSpPr>
          <p:spPr>
            <a:xfrm>
              <a:off x="528202" y="1757283"/>
              <a:ext cx="332853" cy="387048"/>
            </a:xfrm>
            <a:prstGeom prst="rect">
              <a:avLst/>
            </a:prstGeom>
            <a:noFill/>
          </p:spPr>
          <p:txBody>
            <a:bodyPr wrap="none" rtlCol="0" anchor="ctr">
              <a:noAutofit/>
            </a:bodyPr>
            <a:lstStyle/>
            <a:p>
              <a:pPr algn="l"/>
              <a:r>
                <a:rPr lang="en-US" sz="1452" b="1" dirty="0">
                  <a:solidFill>
                    <a:srgbClr val="00ABAB"/>
                  </a:solidFill>
                </a:rPr>
                <a:t>&lt;N&gt;</a:t>
              </a:r>
            </a:p>
          </p:txBody>
        </p:sp>
        <p:sp>
          <p:nvSpPr>
            <p:cNvPr id="97" name="Slide Number" hidden="1">
              <a:extLst>
                <a:ext uri="{FF2B5EF4-FFF2-40B4-BE49-F238E27FC236}">
                  <a16:creationId xmlns:a16="http://schemas.microsoft.com/office/drawing/2014/main" id="{031E3DA8-7910-44CE-BEC8-7314EA8293AE}"/>
                </a:ext>
              </a:extLst>
            </p:cNvPr>
            <p:cNvSpPr txBox="1">
              <a:spLocks/>
            </p:cNvSpPr>
            <p:nvPr/>
          </p:nvSpPr>
          <p:spPr>
            <a:xfrm>
              <a:off x="8548409" y="1750633"/>
              <a:ext cx="406761" cy="407120"/>
            </a:xfrm>
            <a:prstGeom prst="rect">
              <a:avLst/>
            </a:prstGeom>
            <a:noFill/>
          </p:spPr>
          <p:txBody>
            <a:bodyPr wrap="none" rtlCol="0" anchor="ctr">
              <a:noAutofit/>
            </a:bodyPr>
            <a:lstStyle/>
            <a:p>
              <a:pPr algn="r"/>
              <a:r>
                <a:rPr lang="en-US" sz="1452" b="1" dirty="0">
                  <a:solidFill>
                    <a:schemeClr val="tx1"/>
                  </a:solidFill>
                </a:rPr>
                <a:t>&lt;P&gt;</a:t>
              </a:r>
            </a:p>
          </p:txBody>
        </p:sp>
        <p:sp>
          <p:nvSpPr>
            <p:cNvPr id="98" name="Timeslot" hidden="1">
              <a:extLst>
                <a:ext uri="{FF2B5EF4-FFF2-40B4-BE49-F238E27FC236}">
                  <a16:creationId xmlns:a16="http://schemas.microsoft.com/office/drawing/2014/main" id="{F965ABA1-7FE0-4975-A5A2-6322FEBB916F}"/>
                </a:ext>
              </a:extLst>
            </p:cNvPr>
            <p:cNvSpPr txBox="1">
              <a:spLocks/>
            </p:cNvSpPr>
            <p:nvPr/>
          </p:nvSpPr>
          <p:spPr>
            <a:xfrm>
              <a:off x="5838971" y="1750633"/>
              <a:ext cx="1102384" cy="407120"/>
            </a:xfrm>
            <a:prstGeom prst="rect">
              <a:avLst/>
            </a:prstGeom>
            <a:noFill/>
          </p:spPr>
          <p:txBody>
            <a:bodyPr wrap="none" rtlCol="0" anchor="ctr">
              <a:noAutofit/>
            </a:bodyPr>
            <a:lstStyle/>
            <a:p>
              <a:pPr algn="l"/>
              <a:r>
                <a:rPr lang="en-US" sz="1089" dirty="0">
                  <a:solidFill>
                    <a:schemeClr val="tx1"/>
                  </a:solidFill>
                </a:rPr>
                <a:t>&lt;TIMESLOT&gt;</a:t>
              </a:r>
            </a:p>
          </p:txBody>
        </p:sp>
        <p:sp>
          <p:nvSpPr>
            <p:cNvPr id="99" name="Responsible" hidden="1">
              <a:extLst>
                <a:ext uri="{FF2B5EF4-FFF2-40B4-BE49-F238E27FC236}">
                  <a16:creationId xmlns:a16="http://schemas.microsoft.com/office/drawing/2014/main" id="{FCEB945F-85A0-42CA-8EFA-FB4A5F8D3824}"/>
                </a:ext>
              </a:extLst>
            </p:cNvPr>
            <p:cNvSpPr txBox="1">
              <a:spLocks/>
            </p:cNvSpPr>
            <p:nvPr/>
          </p:nvSpPr>
          <p:spPr>
            <a:xfrm>
              <a:off x="4300261" y="1750633"/>
              <a:ext cx="1217270" cy="407120"/>
            </a:xfrm>
            <a:prstGeom prst="rect">
              <a:avLst/>
            </a:prstGeom>
            <a:noFill/>
          </p:spPr>
          <p:txBody>
            <a:bodyPr wrap="none" rtlCol="0" anchor="ctr">
              <a:noAutofit/>
            </a:bodyPr>
            <a:lstStyle/>
            <a:p>
              <a:pPr algn="l"/>
              <a:r>
                <a:rPr lang="en-US" sz="1089" dirty="0">
                  <a:solidFill>
                    <a:schemeClr val="tx1"/>
                  </a:solidFill>
                </a:rPr>
                <a:t>&lt;RESPONSIBLE&gt;</a:t>
              </a:r>
            </a:p>
          </p:txBody>
        </p:sp>
        <p:sp>
          <p:nvSpPr>
            <p:cNvPr id="100" name="Duration" hidden="1">
              <a:extLst>
                <a:ext uri="{FF2B5EF4-FFF2-40B4-BE49-F238E27FC236}">
                  <a16:creationId xmlns:a16="http://schemas.microsoft.com/office/drawing/2014/main" id="{47A19C0B-5B1D-4166-8100-B020E7B3AB3C}"/>
                </a:ext>
              </a:extLst>
            </p:cNvPr>
            <p:cNvSpPr txBox="1">
              <a:spLocks/>
            </p:cNvSpPr>
            <p:nvPr/>
          </p:nvSpPr>
          <p:spPr>
            <a:xfrm>
              <a:off x="7262796" y="1750633"/>
              <a:ext cx="964172" cy="407120"/>
            </a:xfrm>
            <a:prstGeom prst="rect">
              <a:avLst/>
            </a:prstGeom>
            <a:noFill/>
          </p:spPr>
          <p:txBody>
            <a:bodyPr wrap="none" rtlCol="0" anchor="ctr">
              <a:noAutofit/>
            </a:bodyPr>
            <a:lstStyle/>
            <a:p>
              <a:pPr algn="l"/>
              <a:r>
                <a:rPr lang="en-US" sz="1089" dirty="0">
                  <a:solidFill>
                    <a:schemeClr val="tx1"/>
                  </a:solidFill>
                </a:rPr>
                <a:t>&lt;DURATION&gt;</a:t>
              </a:r>
            </a:p>
          </p:txBody>
        </p:sp>
        <p:cxnSp>
          <p:nvCxnSpPr>
            <p:cNvPr id="101" name="Straight Connector 100" hidden="1">
              <a:extLst>
                <a:ext uri="{FF2B5EF4-FFF2-40B4-BE49-F238E27FC236}">
                  <a16:creationId xmlns:a16="http://schemas.microsoft.com/office/drawing/2014/main" id="{9EA9F3C4-9123-472C-95EF-86C617106F08}"/>
                </a:ext>
              </a:extLst>
            </p:cNvPr>
            <p:cNvCxnSpPr>
              <a:cxnSpLocks/>
            </p:cNvCxnSpPr>
            <p:nvPr/>
          </p:nvCxnSpPr>
          <p:spPr>
            <a:xfrm>
              <a:off x="528202" y="1760159"/>
              <a:ext cx="8426968" cy="0"/>
            </a:xfrm>
            <a:prstGeom prst="line">
              <a:avLst/>
            </a:prstGeom>
            <a:ln w="19050" cap="flat">
              <a:solidFill>
                <a:srgbClr val="00ABAB"/>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F79969A6-FCD8-4B83-8044-5CB302ACF456}"/>
                </a:ext>
              </a:extLst>
            </p:cNvPr>
            <p:cNvCxnSpPr>
              <a:cxnSpLocks/>
            </p:cNvCxnSpPr>
            <p:nvPr/>
          </p:nvCxnSpPr>
          <p:spPr>
            <a:xfrm>
              <a:off x="528202" y="2144333"/>
              <a:ext cx="8426968"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03" name="SP Agenda Subsection" hidden="1">
            <a:extLst>
              <a:ext uri="{FF2B5EF4-FFF2-40B4-BE49-F238E27FC236}">
                <a16:creationId xmlns:a16="http://schemas.microsoft.com/office/drawing/2014/main" id="{8711CA24-BB31-4174-A3C1-65B83536A0A2}"/>
              </a:ext>
            </a:extLst>
          </p:cNvPr>
          <p:cNvGrpSpPr/>
          <p:nvPr/>
        </p:nvGrpSpPr>
        <p:grpSpPr>
          <a:xfrm>
            <a:off x="602315" y="1871229"/>
            <a:ext cx="11094274" cy="369332"/>
            <a:chOff x="528202" y="1750633"/>
            <a:chExt cx="8431708" cy="407120"/>
          </a:xfrm>
        </p:grpSpPr>
        <p:sp>
          <p:nvSpPr>
            <p:cNvPr id="104" name="Section Title" hidden="1">
              <a:extLst>
                <a:ext uri="{FF2B5EF4-FFF2-40B4-BE49-F238E27FC236}">
                  <a16:creationId xmlns:a16="http://schemas.microsoft.com/office/drawing/2014/main" id="{9068A6AC-5DC5-4B91-9EFE-A2649A5ECA32}"/>
                </a:ext>
              </a:extLst>
            </p:cNvPr>
            <p:cNvSpPr txBox="1">
              <a:spLocks/>
            </p:cNvSpPr>
            <p:nvPr/>
          </p:nvSpPr>
          <p:spPr>
            <a:xfrm>
              <a:off x="939981" y="1757283"/>
              <a:ext cx="3370436" cy="387048"/>
            </a:xfrm>
            <a:prstGeom prst="rect">
              <a:avLst/>
            </a:prstGeom>
            <a:noFill/>
          </p:spPr>
          <p:txBody>
            <a:bodyPr wrap="square" rtlCol="0" anchor="ctr">
              <a:normAutofit/>
            </a:bodyPr>
            <a:lstStyle/>
            <a:p>
              <a:pPr defTabSz="7426477">
                <a:tabLst>
                  <a:tab pos="7567933" algn="l"/>
                </a:tabLst>
              </a:pPr>
              <a:r>
                <a:rPr lang="en-US" sz="1270" b="0" dirty="0">
                  <a:solidFill>
                    <a:schemeClr val="tx1"/>
                  </a:solidFill>
                </a:rPr>
                <a:t>&lt;TEXT&gt;</a:t>
              </a:r>
            </a:p>
          </p:txBody>
        </p:sp>
        <p:sp>
          <p:nvSpPr>
            <p:cNvPr id="105" name="Section Number" hidden="1">
              <a:extLst>
                <a:ext uri="{FF2B5EF4-FFF2-40B4-BE49-F238E27FC236}">
                  <a16:creationId xmlns:a16="http://schemas.microsoft.com/office/drawing/2014/main" id="{3E2DA2DE-7B41-4135-99A7-52C733520C18}"/>
                </a:ext>
              </a:extLst>
            </p:cNvPr>
            <p:cNvSpPr txBox="1">
              <a:spLocks/>
            </p:cNvSpPr>
            <p:nvPr/>
          </p:nvSpPr>
          <p:spPr>
            <a:xfrm>
              <a:off x="528202" y="1757283"/>
              <a:ext cx="332853" cy="387048"/>
            </a:xfrm>
            <a:prstGeom prst="rect">
              <a:avLst/>
            </a:prstGeom>
            <a:noFill/>
          </p:spPr>
          <p:txBody>
            <a:bodyPr wrap="none" rtlCol="0" anchor="ctr">
              <a:noAutofit/>
            </a:bodyPr>
            <a:lstStyle/>
            <a:p>
              <a:pPr algn="l"/>
              <a:r>
                <a:rPr lang="en-US" sz="1270" b="0" dirty="0">
                  <a:solidFill>
                    <a:schemeClr val="tx1"/>
                  </a:solidFill>
                </a:rPr>
                <a:t>&lt;N&gt;</a:t>
              </a:r>
            </a:p>
          </p:txBody>
        </p:sp>
        <p:sp>
          <p:nvSpPr>
            <p:cNvPr id="106" name="Slide Number" hidden="1">
              <a:extLst>
                <a:ext uri="{FF2B5EF4-FFF2-40B4-BE49-F238E27FC236}">
                  <a16:creationId xmlns:a16="http://schemas.microsoft.com/office/drawing/2014/main" id="{7CB68BAC-29B6-4EA7-BC19-1BF6CD7DEE38}"/>
                </a:ext>
              </a:extLst>
            </p:cNvPr>
            <p:cNvSpPr txBox="1">
              <a:spLocks/>
            </p:cNvSpPr>
            <p:nvPr/>
          </p:nvSpPr>
          <p:spPr>
            <a:xfrm>
              <a:off x="8553149" y="1750633"/>
              <a:ext cx="406761" cy="407120"/>
            </a:xfrm>
            <a:prstGeom prst="rect">
              <a:avLst/>
            </a:prstGeom>
            <a:noFill/>
          </p:spPr>
          <p:txBody>
            <a:bodyPr wrap="none" rtlCol="0" anchor="ctr">
              <a:noAutofit/>
            </a:bodyPr>
            <a:lstStyle/>
            <a:p>
              <a:pPr algn="r"/>
              <a:r>
                <a:rPr lang="en-US" sz="1270" b="0" dirty="0">
                  <a:solidFill>
                    <a:schemeClr val="tx1"/>
                  </a:solidFill>
                </a:rPr>
                <a:t>&lt;P&gt;</a:t>
              </a:r>
            </a:p>
          </p:txBody>
        </p:sp>
        <p:sp>
          <p:nvSpPr>
            <p:cNvPr id="107" name="Timeslot" hidden="1">
              <a:extLst>
                <a:ext uri="{FF2B5EF4-FFF2-40B4-BE49-F238E27FC236}">
                  <a16:creationId xmlns:a16="http://schemas.microsoft.com/office/drawing/2014/main" id="{F8A10B29-D375-4ECF-B2C9-E10EC3521DFB}"/>
                </a:ext>
              </a:extLst>
            </p:cNvPr>
            <p:cNvSpPr txBox="1">
              <a:spLocks/>
            </p:cNvSpPr>
            <p:nvPr/>
          </p:nvSpPr>
          <p:spPr>
            <a:xfrm>
              <a:off x="5843712" y="1750633"/>
              <a:ext cx="1102384" cy="407120"/>
            </a:xfrm>
            <a:prstGeom prst="rect">
              <a:avLst/>
            </a:prstGeom>
            <a:noFill/>
          </p:spPr>
          <p:txBody>
            <a:bodyPr wrap="none" rtlCol="0" anchor="ctr">
              <a:noAutofit/>
            </a:bodyPr>
            <a:lstStyle/>
            <a:p>
              <a:pPr algn="l"/>
              <a:r>
                <a:rPr lang="en-US" sz="1089" dirty="0">
                  <a:solidFill>
                    <a:schemeClr val="tx1"/>
                  </a:solidFill>
                </a:rPr>
                <a:t>&lt;TIMESLOT&gt;</a:t>
              </a:r>
            </a:p>
          </p:txBody>
        </p:sp>
        <p:sp>
          <p:nvSpPr>
            <p:cNvPr id="108" name="Responsible" hidden="1">
              <a:extLst>
                <a:ext uri="{FF2B5EF4-FFF2-40B4-BE49-F238E27FC236}">
                  <a16:creationId xmlns:a16="http://schemas.microsoft.com/office/drawing/2014/main" id="{B6900DE5-D2E8-4DA9-B7DE-A6B3C647E15A}"/>
                </a:ext>
              </a:extLst>
            </p:cNvPr>
            <p:cNvSpPr txBox="1">
              <a:spLocks/>
            </p:cNvSpPr>
            <p:nvPr/>
          </p:nvSpPr>
          <p:spPr>
            <a:xfrm>
              <a:off x="4305002" y="1750633"/>
              <a:ext cx="1217270" cy="407120"/>
            </a:xfrm>
            <a:prstGeom prst="rect">
              <a:avLst/>
            </a:prstGeom>
            <a:noFill/>
          </p:spPr>
          <p:txBody>
            <a:bodyPr wrap="none" rtlCol="0" anchor="ctr">
              <a:noAutofit/>
            </a:bodyPr>
            <a:lstStyle/>
            <a:p>
              <a:pPr algn="l"/>
              <a:r>
                <a:rPr lang="en-US" sz="1089" dirty="0">
                  <a:solidFill>
                    <a:schemeClr val="tx1"/>
                  </a:solidFill>
                </a:rPr>
                <a:t>&lt;RESPONSIBLE&gt;</a:t>
              </a:r>
            </a:p>
          </p:txBody>
        </p:sp>
        <p:sp>
          <p:nvSpPr>
            <p:cNvPr id="109" name="Duration" hidden="1">
              <a:extLst>
                <a:ext uri="{FF2B5EF4-FFF2-40B4-BE49-F238E27FC236}">
                  <a16:creationId xmlns:a16="http://schemas.microsoft.com/office/drawing/2014/main" id="{DC0BCCC1-78C0-476D-B136-A313C7AAEEA4}"/>
                </a:ext>
              </a:extLst>
            </p:cNvPr>
            <p:cNvSpPr txBox="1">
              <a:spLocks/>
            </p:cNvSpPr>
            <p:nvPr/>
          </p:nvSpPr>
          <p:spPr>
            <a:xfrm>
              <a:off x="7267537" y="1750633"/>
              <a:ext cx="964172" cy="407120"/>
            </a:xfrm>
            <a:prstGeom prst="rect">
              <a:avLst/>
            </a:prstGeom>
            <a:noFill/>
          </p:spPr>
          <p:txBody>
            <a:bodyPr wrap="none" rtlCol="0" anchor="ctr">
              <a:noAutofit/>
            </a:bodyPr>
            <a:lstStyle/>
            <a:p>
              <a:pPr algn="l"/>
              <a:r>
                <a:rPr lang="en-US" sz="1089" dirty="0">
                  <a:solidFill>
                    <a:schemeClr val="tx1"/>
                  </a:solidFill>
                </a:rPr>
                <a:t>&lt;DURATION&gt;</a:t>
              </a:r>
            </a:p>
          </p:txBody>
        </p:sp>
        <p:cxnSp>
          <p:nvCxnSpPr>
            <p:cNvPr id="110" name="Straight Connector 109" hidden="1">
              <a:extLst>
                <a:ext uri="{FF2B5EF4-FFF2-40B4-BE49-F238E27FC236}">
                  <a16:creationId xmlns:a16="http://schemas.microsoft.com/office/drawing/2014/main" id="{2412250E-5F65-4C28-8BA5-4FF5713E23F0}"/>
                </a:ext>
              </a:extLst>
            </p:cNvPr>
            <p:cNvCxnSpPr>
              <a:cxnSpLocks/>
            </p:cNvCxnSpPr>
            <p:nvPr/>
          </p:nvCxnSpPr>
          <p:spPr>
            <a:xfrm>
              <a:off x="528202" y="1750633"/>
              <a:ext cx="8314313"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BAE658F4-BE4F-4C2F-9142-860B22130D16}"/>
                </a:ext>
              </a:extLst>
            </p:cNvPr>
            <p:cNvCxnSpPr>
              <a:cxnSpLocks/>
            </p:cNvCxnSpPr>
            <p:nvPr/>
          </p:nvCxnSpPr>
          <p:spPr>
            <a:xfrm>
              <a:off x="528202" y="2144333"/>
              <a:ext cx="8426967"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2" name="SP Agenda Section Highlight" hidden="1">
            <a:extLst>
              <a:ext uri="{FF2B5EF4-FFF2-40B4-BE49-F238E27FC236}">
                <a16:creationId xmlns:a16="http://schemas.microsoft.com/office/drawing/2014/main" id="{82C102B8-9C8E-4CC4-B7C5-AB5524A25E9A}"/>
              </a:ext>
            </a:extLst>
          </p:cNvPr>
          <p:cNvGrpSpPr/>
          <p:nvPr/>
        </p:nvGrpSpPr>
        <p:grpSpPr>
          <a:xfrm>
            <a:off x="602314" y="2570526"/>
            <a:ext cx="11088036" cy="369332"/>
            <a:chOff x="528201" y="2833529"/>
            <a:chExt cx="9723688" cy="407120"/>
          </a:xfrm>
        </p:grpSpPr>
        <p:sp>
          <p:nvSpPr>
            <p:cNvPr id="113" name="Rectangle 112" hidden="1">
              <a:extLst>
                <a:ext uri="{FF2B5EF4-FFF2-40B4-BE49-F238E27FC236}">
                  <a16:creationId xmlns:a16="http://schemas.microsoft.com/office/drawing/2014/main" id="{D47D4728-D30F-4812-ACC0-5F10FCB332FB}"/>
                </a:ext>
              </a:extLst>
            </p:cNvPr>
            <p:cNvSpPr/>
            <p:nvPr/>
          </p:nvSpPr>
          <p:spPr bwMode="gray">
            <a:xfrm>
              <a:off x="528201" y="2840179"/>
              <a:ext cx="9723688" cy="391907"/>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452" b="1" dirty="0">
                <a:solidFill>
                  <a:schemeClr val="bg1"/>
                </a:solidFill>
              </a:endParaRPr>
            </a:p>
          </p:txBody>
        </p:sp>
        <p:sp>
          <p:nvSpPr>
            <p:cNvPr id="114" name="Section Title" hidden="1">
              <a:extLst>
                <a:ext uri="{FF2B5EF4-FFF2-40B4-BE49-F238E27FC236}">
                  <a16:creationId xmlns:a16="http://schemas.microsoft.com/office/drawing/2014/main" id="{7DF6D5A2-76A3-4BF6-8E80-DD88E640362F}"/>
                </a:ext>
              </a:extLst>
            </p:cNvPr>
            <p:cNvSpPr txBox="1">
              <a:spLocks/>
            </p:cNvSpPr>
            <p:nvPr/>
          </p:nvSpPr>
          <p:spPr>
            <a:xfrm>
              <a:off x="1003344" y="2840179"/>
              <a:ext cx="3889070" cy="387048"/>
            </a:xfrm>
            <a:prstGeom prst="rect">
              <a:avLst/>
            </a:prstGeom>
            <a:noFill/>
          </p:spPr>
          <p:txBody>
            <a:bodyPr wrap="square" rtlCol="0" anchor="ctr">
              <a:normAutofit/>
            </a:bodyPr>
            <a:lstStyle/>
            <a:p>
              <a:pPr defTabSz="7426477">
                <a:tabLst>
                  <a:tab pos="7567933" algn="l"/>
                </a:tabLst>
              </a:pPr>
              <a:r>
                <a:rPr lang="en-US" sz="1452" b="0" dirty="0">
                  <a:solidFill>
                    <a:schemeClr val="bg1"/>
                  </a:solidFill>
                </a:rPr>
                <a:t>&lt;TEXT&gt;</a:t>
              </a:r>
            </a:p>
          </p:txBody>
        </p:sp>
        <p:sp>
          <p:nvSpPr>
            <p:cNvPr id="115" name="Section Number" hidden="1">
              <a:extLst>
                <a:ext uri="{FF2B5EF4-FFF2-40B4-BE49-F238E27FC236}">
                  <a16:creationId xmlns:a16="http://schemas.microsoft.com/office/drawing/2014/main" id="{5E9EDE98-FF7E-4EDB-A02D-EAF9592565EE}"/>
                </a:ext>
              </a:extLst>
            </p:cNvPr>
            <p:cNvSpPr txBox="1">
              <a:spLocks/>
            </p:cNvSpPr>
            <p:nvPr/>
          </p:nvSpPr>
          <p:spPr>
            <a:xfrm>
              <a:off x="528201" y="2840179"/>
              <a:ext cx="384072" cy="387048"/>
            </a:xfrm>
            <a:prstGeom prst="rect">
              <a:avLst/>
            </a:prstGeom>
            <a:noFill/>
          </p:spPr>
          <p:txBody>
            <a:bodyPr wrap="none" rtlCol="0" anchor="ctr">
              <a:noAutofit/>
            </a:bodyPr>
            <a:lstStyle/>
            <a:p>
              <a:pPr algn="ctr"/>
              <a:r>
                <a:rPr lang="en-US" sz="1452" b="1" dirty="0">
                  <a:solidFill>
                    <a:schemeClr val="bg1"/>
                  </a:solidFill>
                </a:rPr>
                <a:t>&lt;N&gt;</a:t>
              </a:r>
            </a:p>
          </p:txBody>
        </p:sp>
        <p:sp>
          <p:nvSpPr>
            <p:cNvPr id="116" name="Slide Number" hidden="1">
              <a:extLst>
                <a:ext uri="{FF2B5EF4-FFF2-40B4-BE49-F238E27FC236}">
                  <a16:creationId xmlns:a16="http://schemas.microsoft.com/office/drawing/2014/main" id="{45882155-E319-4066-81D1-B82B5ABFB31B}"/>
                </a:ext>
              </a:extLst>
            </p:cNvPr>
            <p:cNvSpPr txBox="1">
              <a:spLocks/>
            </p:cNvSpPr>
            <p:nvPr/>
          </p:nvSpPr>
          <p:spPr>
            <a:xfrm>
              <a:off x="9782537" y="2833529"/>
              <a:ext cx="469352" cy="407120"/>
            </a:xfrm>
            <a:prstGeom prst="rect">
              <a:avLst/>
            </a:prstGeom>
            <a:noFill/>
          </p:spPr>
          <p:txBody>
            <a:bodyPr wrap="none" rtlCol="0" anchor="ctr">
              <a:noAutofit/>
            </a:bodyPr>
            <a:lstStyle/>
            <a:p>
              <a:pPr algn="r"/>
              <a:r>
                <a:rPr lang="en-US" sz="1114" b="1" dirty="0">
                  <a:solidFill>
                    <a:schemeClr val="bg1"/>
                  </a:solidFill>
                </a:rPr>
                <a:t>&lt;P&gt;</a:t>
              </a:r>
            </a:p>
          </p:txBody>
        </p:sp>
        <p:sp>
          <p:nvSpPr>
            <p:cNvPr id="117" name="Timeslot" hidden="1">
              <a:extLst>
                <a:ext uri="{FF2B5EF4-FFF2-40B4-BE49-F238E27FC236}">
                  <a16:creationId xmlns:a16="http://schemas.microsoft.com/office/drawing/2014/main" id="{BD474065-4D89-4CEC-894A-944E4B5602DD}"/>
                </a:ext>
              </a:extLst>
            </p:cNvPr>
            <p:cNvSpPr txBox="1">
              <a:spLocks/>
            </p:cNvSpPr>
            <p:nvPr/>
          </p:nvSpPr>
          <p:spPr>
            <a:xfrm>
              <a:off x="6656178" y="2833529"/>
              <a:ext cx="1272016" cy="407120"/>
            </a:xfrm>
            <a:prstGeom prst="rect">
              <a:avLst/>
            </a:prstGeom>
            <a:noFill/>
          </p:spPr>
          <p:txBody>
            <a:bodyPr wrap="none" rtlCol="0" anchor="ctr">
              <a:noAutofit/>
            </a:bodyPr>
            <a:lstStyle/>
            <a:p>
              <a:pPr algn="l"/>
              <a:r>
                <a:rPr lang="en-US" sz="1114" b="0" dirty="0">
                  <a:solidFill>
                    <a:schemeClr val="bg1"/>
                  </a:solidFill>
                </a:rPr>
                <a:t>&lt;TIMESLOT&gt;</a:t>
              </a:r>
            </a:p>
          </p:txBody>
        </p:sp>
        <p:sp>
          <p:nvSpPr>
            <p:cNvPr id="118" name="Responsible" hidden="1">
              <a:extLst>
                <a:ext uri="{FF2B5EF4-FFF2-40B4-BE49-F238E27FC236}">
                  <a16:creationId xmlns:a16="http://schemas.microsoft.com/office/drawing/2014/main" id="{3D68FAEE-1093-4874-8425-C00373944551}"/>
                </a:ext>
              </a:extLst>
            </p:cNvPr>
            <p:cNvSpPr txBox="1">
              <a:spLocks/>
            </p:cNvSpPr>
            <p:nvPr/>
          </p:nvSpPr>
          <p:spPr>
            <a:xfrm>
              <a:off x="4880695" y="2833529"/>
              <a:ext cx="1404580" cy="407120"/>
            </a:xfrm>
            <a:prstGeom prst="rect">
              <a:avLst/>
            </a:prstGeom>
            <a:noFill/>
          </p:spPr>
          <p:txBody>
            <a:bodyPr wrap="none" rtlCol="0" anchor="ctr">
              <a:noAutofit/>
            </a:bodyPr>
            <a:lstStyle/>
            <a:p>
              <a:pPr algn="l"/>
              <a:r>
                <a:rPr lang="en-US" sz="1114" b="0" dirty="0">
                  <a:solidFill>
                    <a:schemeClr val="bg1"/>
                  </a:solidFill>
                </a:rPr>
                <a:t>&lt;RESPONSIBLE&gt;</a:t>
              </a:r>
            </a:p>
          </p:txBody>
        </p:sp>
        <p:sp>
          <p:nvSpPr>
            <p:cNvPr id="119" name="Duration" hidden="1">
              <a:extLst>
                <a:ext uri="{FF2B5EF4-FFF2-40B4-BE49-F238E27FC236}">
                  <a16:creationId xmlns:a16="http://schemas.microsoft.com/office/drawing/2014/main" id="{AED3B511-DB9D-4DDF-A726-4D125551B95F}"/>
                </a:ext>
              </a:extLst>
            </p:cNvPr>
            <p:cNvSpPr txBox="1">
              <a:spLocks/>
            </p:cNvSpPr>
            <p:nvPr/>
          </p:nvSpPr>
          <p:spPr>
            <a:xfrm>
              <a:off x="8299098" y="2833529"/>
              <a:ext cx="1112536" cy="407120"/>
            </a:xfrm>
            <a:prstGeom prst="rect">
              <a:avLst/>
            </a:prstGeom>
            <a:noFill/>
          </p:spPr>
          <p:txBody>
            <a:bodyPr wrap="none" rtlCol="0" anchor="ctr">
              <a:noAutofit/>
            </a:bodyPr>
            <a:lstStyle/>
            <a:p>
              <a:pPr algn="l"/>
              <a:r>
                <a:rPr lang="en-US" sz="1114" b="1" dirty="0">
                  <a:solidFill>
                    <a:schemeClr val="bg1"/>
                  </a:solidFill>
                </a:rPr>
                <a:t>&lt;</a:t>
              </a:r>
              <a:r>
                <a:rPr lang="en-US" sz="1114" b="0" dirty="0">
                  <a:solidFill>
                    <a:schemeClr val="bg1"/>
                  </a:solidFill>
                </a:rPr>
                <a:t>DURATION</a:t>
              </a:r>
              <a:r>
                <a:rPr lang="en-US" sz="1114" b="1" dirty="0">
                  <a:solidFill>
                    <a:schemeClr val="bg1"/>
                  </a:solidFill>
                </a:rPr>
                <a:t>&gt;</a:t>
              </a:r>
            </a:p>
          </p:txBody>
        </p:sp>
        <p:cxnSp>
          <p:nvCxnSpPr>
            <p:cNvPr id="120" name="Straight Connector 119" hidden="1">
              <a:extLst>
                <a:ext uri="{FF2B5EF4-FFF2-40B4-BE49-F238E27FC236}">
                  <a16:creationId xmlns:a16="http://schemas.microsoft.com/office/drawing/2014/main" id="{B691B760-838E-42BC-86E5-7E48C1DCC2FD}"/>
                </a:ext>
              </a:extLst>
            </p:cNvPr>
            <p:cNvCxnSpPr>
              <a:cxnSpLocks/>
            </p:cNvCxnSpPr>
            <p:nvPr/>
          </p:nvCxnSpPr>
          <p:spPr>
            <a:xfrm>
              <a:off x="528201" y="2843055"/>
              <a:ext cx="9676249" cy="0"/>
            </a:xfrm>
            <a:prstGeom prst="line">
              <a:avLst/>
            </a:prstGeom>
            <a:ln w="19050" cap="flat">
              <a:solidFill>
                <a:srgbClr val="00ABAB"/>
              </a:solidFill>
              <a:miter lim="800000"/>
            </a:ln>
          </p:spPr>
          <p:style>
            <a:lnRef idx="1">
              <a:schemeClr val="accent1"/>
            </a:lnRef>
            <a:fillRef idx="0">
              <a:schemeClr val="accent1"/>
            </a:fillRef>
            <a:effectRef idx="0">
              <a:schemeClr val="accent1"/>
            </a:effectRef>
            <a:fontRef idx="minor">
              <a:schemeClr val="tx1"/>
            </a:fontRef>
          </p:style>
        </p:cxnSp>
      </p:grpSp>
      <p:grpSp>
        <p:nvGrpSpPr>
          <p:cNvPr id="121" name="SP Agenda Subsection Highlight" hidden="1">
            <a:extLst>
              <a:ext uri="{FF2B5EF4-FFF2-40B4-BE49-F238E27FC236}">
                <a16:creationId xmlns:a16="http://schemas.microsoft.com/office/drawing/2014/main" id="{22DF9E13-06DA-450C-A1D1-2D8378C7754E}"/>
              </a:ext>
            </a:extLst>
          </p:cNvPr>
          <p:cNvGrpSpPr/>
          <p:nvPr/>
        </p:nvGrpSpPr>
        <p:grpSpPr>
          <a:xfrm>
            <a:off x="602314" y="2926061"/>
            <a:ext cx="11097389" cy="369332"/>
            <a:chOff x="528201" y="3225440"/>
            <a:chExt cx="9731890" cy="407120"/>
          </a:xfrm>
        </p:grpSpPr>
        <p:sp>
          <p:nvSpPr>
            <p:cNvPr id="122" name="Rectangle 121" hidden="1">
              <a:extLst>
                <a:ext uri="{FF2B5EF4-FFF2-40B4-BE49-F238E27FC236}">
                  <a16:creationId xmlns:a16="http://schemas.microsoft.com/office/drawing/2014/main" id="{185BBFE0-180B-4CAD-AB63-D44403F0E476}"/>
                </a:ext>
              </a:extLst>
            </p:cNvPr>
            <p:cNvSpPr/>
            <p:nvPr/>
          </p:nvSpPr>
          <p:spPr bwMode="gray">
            <a:xfrm>
              <a:off x="528201" y="3232086"/>
              <a:ext cx="9723688" cy="385262"/>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452" b="1" dirty="0">
                <a:solidFill>
                  <a:schemeClr val="bg1"/>
                </a:solidFill>
              </a:endParaRPr>
            </a:p>
          </p:txBody>
        </p:sp>
        <p:sp>
          <p:nvSpPr>
            <p:cNvPr id="123" name="Section Title" hidden="1">
              <a:extLst>
                <a:ext uri="{FF2B5EF4-FFF2-40B4-BE49-F238E27FC236}">
                  <a16:creationId xmlns:a16="http://schemas.microsoft.com/office/drawing/2014/main" id="{F52C74C9-54DF-4B08-8543-2F3D0B590057}"/>
                </a:ext>
              </a:extLst>
            </p:cNvPr>
            <p:cNvSpPr txBox="1">
              <a:spLocks/>
            </p:cNvSpPr>
            <p:nvPr/>
          </p:nvSpPr>
          <p:spPr>
            <a:xfrm>
              <a:off x="1003344" y="3232090"/>
              <a:ext cx="3889070" cy="387048"/>
            </a:xfrm>
            <a:prstGeom prst="rect">
              <a:avLst/>
            </a:prstGeom>
            <a:noFill/>
          </p:spPr>
          <p:txBody>
            <a:bodyPr wrap="square" rtlCol="0" anchor="ctr">
              <a:normAutofit/>
            </a:bodyPr>
            <a:lstStyle/>
            <a:p>
              <a:pPr defTabSz="7426477">
                <a:tabLst>
                  <a:tab pos="7567933" algn="l"/>
                </a:tabLst>
              </a:pPr>
              <a:r>
                <a:rPr lang="en-US" sz="1452" b="0" dirty="0">
                  <a:solidFill>
                    <a:schemeClr val="tx1"/>
                  </a:solidFill>
                </a:rPr>
                <a:t>&lt;TEXT&gt;</a:t>
              </a:r>
            </a:p>
          </p:txBody>
        </p:sp>
        <p:sp>
          <p:nvSpPr>
            <p:cNvPr id="124" name="Section Number" hidden="1">
              <a:extLst>
                <a:ext uri="{FF2B5EF4-FFF2-40B4-BE49-F238E27FC236}">
                  <a16:creationId xmlns:a16="http://schemas.microsoft.com/office/drawing/2014/main" id="{9423A6B0-6101-40AB-8AC6-7FA487363504}"/>
                </a:ext>
              </a:extLst>
            </p:cNvPr>
            <p:cNvSpPr txBox="1">
              <a:spLocks/>
            </p:cNvSpPr>
            <p:nvPr/>
          </p:nvSpPr>
          <p:spPr>
            <a:xfrm>
              <a:off x="528201" y="3232090"/>
              <a:ext cx="384072" cy="387048"/>
            </a:xfrm>
            <a:prstGeom prst="rect">
              <a:avLst/>
            </a:prstGeom>
            <a:noFill/>
          </p:spPr>
          <p:txBody>
            <a:bodyPr wrap="none" rtlCol="0" anchor="ctr">
              <a:noAutofit/>
            </a:bodyPr>
            <a:lstStyle/>
            <a:p>
              <a:pPr algn="ctr"/>
              <a:r>
                <a:rPr lang="en-US" sz="1452" b="1" dirty="0">
                  <a:solidFill>
                    <a:schemeClr val="tx1"/>
                  </a:solidFill>
                </a:rPr>
                <a:t>&lt;N&gt;</a:t>
              </a:r>
            </a:p>
          </p:txBody>
        </p:sp>
        <p:sp>
          <p:nvSpPr>
            <p:cNvPr id="125" name="Slide Number" hidden="1">
              <a:extLst>
                <a:ext uri="{FF2B5EF4-FFF2-40B4-BE49-F238E27FC236}">
                  <a16:creationId xmlns:a16="http://schemas.microsoft.com/office/drawing/2014/main" id="{413888E6-856F-4DDE-85A9-662A8F255AF8}"/>
                </a:ext>
              </a:extLst>
            </p:cNvPr>
            <p:cNvSpPr txBox="1">
              <a:spLocks/>
            </p:cNvSpPr>
            <p:nvPr/>
          </p:nvSpPr>
          <p:spPr>
            <a:xfrm>
              <a:off x="9790739" y="3225440"/>
              <a:ext cx="469352" cy="407120"/>
            </a:xfrm>
            <a:prstGeom prst="rect">
              <a:avLst/>
            </a:prstGeom>
            <a:noFill/>
          </p:spPr>
          <p:txBody>
            <a:bodyPr wrap="none" rtlCol="0" anchor="ctr">
              <a:noAutofit/>
            </a:bodyPr>
            <a:lstStyle/>
            <a:p>
              <a:pPr algn="r"/>
              <a:r>
                <a:rPr lang="en-US" sz="1114" b="1" dirty="0">
                  <a:solidFill>
                    <a:schemeClr val="tx1"/>
                  </a:solidFill>
                </a:rPr>
                <a:t>&lt;P&gt;</a:t>
              </a:r>
            </a:p>
          </p:txBody>
        </p:sp>
        <p:sp>
          <p:nvSpPr>
            <p:cNvPr id="126" name="Timeslot" hidden="1">
              <a:extLst>
                <a:ext uri="{FF2B5EF4-FFF2-40B4-BE49-F238E27FC236}">
                  <a16:creationId xmlns:a16="http://schemas.microsoft.com/office/drawing/2014/main" id="{D112A16C-E0E5-4266-8462-2D688E3DDCA4}"/>
                </a:ext>
              </a:extLst>
            </p:cNvPr>
            <p:cNvSpPr txBox="1">
              <a:spLocks/>
            </p:cNvSpPr>
            <p:nvPr/>
          </p:nvSpPr>
          <p:spPr>
            <a:xfrm>
              <a:off x="6667896" y="3225440"/>
              <a:ext cx="1272016" cy="407120"/>
            </a:xfrm>
            <a:prstGeom prst="rect">
              <a:avLst/>
            </a:prstGeom>
            <a:noFill/>
          </p:spPr>
          <p:txBody>
            <a:bodyPr wrap="none" rtlCol="0" anchor="ctr">
              <a:noAutofit/>
            </a:bodyPr>
            <a:lstStyle/>
            <a:p>
              <a:pPr algn="l"/>
              <a:r>
                <a:rPr lang="en-US" sz="1114" dirty="0">
                  <a:solidFill>
                    <a:schemeClr val="tx1"/>
                  </a:solidFill>
                </a:rPr>
                <a:t>&lt;TIMESLOT&gt;</a:t>
              </a:r>
            </a:p>
          </p:txBody>
        </p:sp>
        <p:sp>
          <p:nvSpPr>
            <p:cNvPr id="127" name="Responsible" hidden="1">
              <a:extLst>
                <a:ext uri="{FF2B5EF4-FFF2-40B4-BE49-F238E27FC236}">
                  <a16:creationId xmlns:a16="http://schemas.microsoft.com/office/drawing/2014/main" id="{9FB5169A-C25A-4901-BBBE-3CC4833D1192}"/>
                </a:ext>
              </a:extLst>
            </p:cNvPr>
            <p:cNvSpPr txBox="1">
              <a:spLocks/>
            </p:cNvSpPr>
            <p:nvPr/>
          </p:nvSpPr>
          <p:spPr>
            <a:xfrm>
              <a:off x="4892413" y="3225440"/>
              <a:ext cx="1404580" cy="407120"/>
            </a:xfrm>
            <a:prstGeom prst="rect">
              <a:avLst/>
            </a:prstGeom>
            <a:noFill/>
          </p:spPr>
          <p:txBody>
            <a:bodyPr wrap="none" rtlCol="0" anchor="ctr">
              <a:noAutofit/>
            </a:bodyPr>
            <a:lstStyle/>
            <a:p>
              <a:pPr algn="l"/>
              <a:r>
                <a:rPr lang="en-US" sz="1114" dirty="0">
                  <a:solidFill>
                    <a:schemeClr val="tx1"/>
                  </a:solidFill>
                </a:rPr>
                <a:t>&lt;RESPONSIBLE&gt;</a:t>
              </a:r>
            </a:p>
          </p:txBody>
        </p:sp>
        <p:sp>
          <p:nvSpPr>
            <p:cNvPr id="128" name="Duration" hidden="1">
              <a:extLst>
                <a:ext uri="{FF2B5EF4-FFF2-40B4-BE49-F238E27FC236}">
                  <a16:creationId xmlns:a16="http://schemas.microsoft.com/office/drawing/2014/main" id="{FD1E3C5D-6353-49A6-BE35-2CE758C72039}"/>
                </a:ext>
              </a:extLst>
            </p:cNvPr>
            <p:cNvSpPr txBox="1">
              <a:spLocks/>
            </p:cNvSpPr>
            <p:nvPr/>
          </p:nvSpPr>
          <p:spPr>
            <a:xfrm>
              <a:off x="8310816" y="3225440"/>
              <a:ext cx="1112536" cy="407120"/>
            </a:xfrm>
            <a:prstGeom prst="rect">
              <a:avLst/>
            </a:prstGeom>
            <a:noFill/>
          </p:spPr>
          <p:txBody>
            <a:bodyPr wrap="none" rtlCol="0" anchor="ctr">
              <a:noAutofit/>
            </a:bodyPr>
            <a:lstStyle/>
            <a:p>
              <a:pPr algn="l"/>
              <a:r>
                <a:rPr lang="en-US" sz="1114" dirty="0">
                  <a:solidFill>
                    <a:schemeClr val="tx1"/>
                  </a:solidFill>
                </a:rPr>
                <a:t>&lt;DURATION&gt;</a:t>
              </a:r>
            </a:p>
          </p:txBody>
        </p:sp>
      </p:grpSp>
      <p:sp>
        <p:nvSpPr>
          <p:cNvPr id="38" name="Date Placeholder 7">
            <a:extLst>
              <a:ext uri="{FF2B5EF4-FFF2-40B4-BE49-F238E27FC236}">
                <a16:creationId xmlns:a16="http://schemas.microsoft.com/office/drawing/2014/main" id="{32444945-3CA4-4523-A529-3C13115D5A54}"/>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39" name="Footer Placeholder 8">
            <a:extLst>
              <a:ext uri="{FF2B5EF4-FFF2-40B4-BE49-F238E27FC236}">
                <a16:creationId xmlns:a16="http://schemas.microsoft.com/office/drawing/2014/main" id="{9452F1A9-83A5-43BE-B9A6-E3105098605C}"/>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40" name="Slide Number Placeholder 9">
            <a:extLst>
              <a:ext uri="{FF2B5EF4-FFF2-40B4-BE49-F238E27FC236}">
                <a16:creationId xmlns:a16="http://schemas.microsoft.com/office/drawing/2014/main" id="{FC39B9F2-43A5-42CE-A29B-07D4274319D3}"/>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686356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P Divider 1">
    <p:bg>
      <p:bgPr>
        <a:solidFill>
          <a:srgbClr val="9DD4CF"/>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7C26124-1E8D-4391-A090-AE4AD9A76F9D}"/>
              </a:ext>
            </a:extLst>
          </p:cNvPr>
          <p:cNvSpPr>
            <a:spLocks/>
          </p:cNvSpPr>
          <p:nvPr/>
        </p:nvSpPr>
        <p:spPr bwMode="gray">
          <a:xfrm>
            <a:off x="0" y="1525625"/>
            <a:ext cx="850299" cy="1352920"/>
          </a:xfrm>
          <a:custGeom>
            <a:avLst/>
            <a:gdLst>
              <a:gd name="connsiteX0" fmla="*/ 0 w 745672"/>
              <a:gd name="connsiteY0" fmla="*/ 0 h 1491344"/>
              <a:gd name="connsiteX1" fmla="*/ 745672 w 745672"/>
              <a:gd name="connsiteY1" fmla="*/ 745672 h 1491344"/>
              <a:gd name="connsiteX2" fmla="*/ 0 w 745672"/>
              <a:gd name="connsiteY2" fmla="*/ 1491344 h 1491344"/>
              <a:gd name="connsiteX3" fmla="*/ 0 w 745672"/>
              <a:gd name="connsiteY3" fmla="*/ 0 h 1491344"/>
            </a:gdLst>
            <a:ahLst/>
            <a:cxnLst>
              <a:cxn ang="0">
                <a:pos x="connsiteX0" y="connsiteY0"/>
              </a:cxn>
              <a:cxn ang="0">
                <a:pos x="connsiteX1" y="connsiteY1"/>
              </a:cxn>
              <a:cxn ang="0">
                <a:pos x="connsiteX2" y="connsiteY2"/>
              </a:cxn>
              <a:cxn ang="0">
                <a:pos x="connsiteX3" y="connsiteY3"/>
              </a:cxn>
            </a:cxnLst>
            <a:rect l="l" t="t" r="r" b="b"/>
            <a:pathLst>
              <a:path w="745672" h="1491344">
                <a:moveTo>
                  <a:pt x="0" y="0"/>
                </a:moveTo>
                <a:cubicBezTo>
                  <a:pt x="411823" y="0"/>
                  <a:pt x="745672" y="333849"/>
                  <a:pt x="745672" y="745672"/>
                </a:cubicBezTo>
                <a:cubicBezTo>
                  <a:pt x="745672" y="1157495"/>
                  <a:pt x="411823" y="1491344"/>
                  <a:pt x="0" y="1491344"/>
                </a:cubicBezTo>
                <a:lnTo>
                  <a:pt x="0" y="0"/>
                </a:lnTo>
                <a:close/>
              </a:path>
            </a:pathLst>
          </a:custGeom>
          <a:solidFill>
            <a:srgbClr val="0097A9"/>
          </a:solidFill>
          <a:ln w="19050" algn="ctr">
            <a:noFill/>
            <a:miter lim="800000"/>
            <a:headEnd/>
            <a:tailEnd/>
          </a:ln>
        </p:spPr>
        <p:txBody>
          <a:bodyPr wrap="square" lIns="80648" tIns="80648" rIns="80648" bIns="80648" rtlCol="0" anchor="ctr">
            <a:noAutofit/>
          </a:bodyPr>
          <a:lstStyle/>
          <a:p>
            <a:pPr algn="ctr">
              <a:lnSpc>
                <a:spcPct val="106000"/>
              </a:lnSpc>
              <a:buFont typeface="Wingdings 2" pitchFamily="18" charset="2"/>
              <a:buNone/>
            </a:pPr>
            <a:endParaRPr lang="fr-FR" sz="1452" b="1" dirty="0">
              <a:solidFill>
                <a:srgbClr val="26890D"/>
              </a:solidFill>
            </a:endParaRPr>
          </a:p>
        </p:txBody>
      </p:sp>
      <p:grpSp>
        <p:nvGrpSpPr>
          <p:cNvPr id="27" name="SP Agenda Subsection" hidden="1">
            <a:extLst>
              <a:ext uri="{FF2B5EF4-FFF2-40B4-BE49-F238E27FC236}">
                <a16:creationId xmlns:a16="http://schemas.microsoft.com/office/drawing/2014/main" id="{2F3399A0-C135-4DCC-9192-16A6B77C0B73}"/>
              </a:ext>
            </a:extLst>
          </p:cNvPr>
          <p:cNvGrpSpPr/>
          <p:nvPr/>
        </p:nvGrpSpPr>
        <p:grpSpPr>
          <a:xfrm>
            <a:off x="918571" y="3718142"/>
            <a:ext cx="10435286" cy="440152"/>
            <a:chOff x="805543" y="3360517"/>
            <a:chExt cx="10468172" cy="485186"/>
          </a:xfrm>
        </p:grpSpPr>
        <p:sp>
          <p:nvSpPr>
            <p:cNvPr id="28" name="Rectangle: Rounded Corners 27" hidden="1">
              <a:extLst>
                <a:ext uri="{FF2B5EF4-FFF2-40B4-BE49-F238E27FC236}">
                  <a16:creationId xmlns:a16="http://schemas.microsoft.com/office/drawing/2014/main" id="{5484F5E1-936F-4A6E-A9D4-5F4CF6C425BC}"/>
                </a:ext>
              </a:extLst>
            </p:cNvPr>
            <p:cNvSpPr/>
            <p:nvPr/>
          </p:nvSpPr>
          <p:spPr bwMode="gray">
            <a:xfrm>
              <a:off x="805543" y="3360517"/>
              <a:ext cx="9985459" cy="485186"/>
            </a:xfrm>
            <a:prstGeom prst="roundRect">
              <a:avLst>
                <a:gd name="adj" fmla="val 5000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089" b="1" dirty="0">
                <a:solidFill>
                  <a:schemeClr val="bg1"/>
                </a:solidFill>
              </a:endParaRPr>
            </a:p>
          </p:txBody>
        </p:sp>
        <p:sp>
          <p:nvSpPr>
            <p:cNvPr id="29" name="Rectangle: Rounded Corners 28" hidden="1">
              <a:extLst>
                <a:ext uri="{FF2B5EF4-FFF2-40B4-BE49-F238E27FC236}">
                  <a16:creationId xmlns:a16="http://schemas.microsoft.com/office/drawing/2014/main" id="{C3F9EB79-0516-4C7A-B567-64E277542F4C}"/>
                </a:ext>
              </a:extLst>
            </p:cNvPr>
            <p:cNvSpPr/>
            <p:nvPr/>
          </p:nvSpPr>
          <p:spPr bwMode="gray">
            <a:xfrm>
              <a:off x="10308289" y="3360517"/>
              <a:ext cx="965426" cy="485186"/>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089" b="1" dirty="0">
                <a:solidFill>
                  <a:schemeClr val="bg1"/>
                </a:solidFill>
              </a:endParaRPr>
            </a:p>
          </p:txBody>
        </p:sp>
        <p:sp>
          <p:nvSpPr>
            <p:cNvPr id="30" name="Section Title" hidden="1">
              <a:extLst>
                <a:ext uri="{FF2B5EF4-FFF2-40B4-BE49-F238E27FC236}">
                  <a16:creationId xmlns:a16="http://schemas.microsoft.com/office/drawing/2014/main" id="{E7997F8B-79E9-4ADF-BC52-1643663A4BCE}"/>
                </a:ext>
              </a:extLst>
            </p:cNvPr>
            <p:cNvSpPr txBox="1">
              <a:spLocks/>
            </p:cNvSpPr>
            <p:nvPr/>
          </p:nvSpPr>
          <p:spPr>
            <a:xfrm>
              <a:off x="1660309" y="3394787"/>
              <a:ext cx="8330263" cy="407120"/>
            </a:xfrm>
            <a:prstGeom prst="rect">
              <a:avLst/>
            </a:prstGeom>
            <a:noFill/>
          </p:spPr>
          <p:txBody>
            <a:bodyPr wrap="square" lIns="0" rtlCol="0" anchor="ctr">
              <a:noAutofit/>
            </a:bodyPr>
            <a:lstStyle/>
            <a:p>
              <a:pPr defTabSz="7426477">
                <a:tabLst>
                  <a:tab pos="7567933" algn="l"/>
                </a:tabLst>
              </a:pPr>
              <a:r>
                <a:rPr lang="en-US" sz="1814" b="0" dirty="0">
                  <a:solidFill>
                    <a:schemeClr val="tx1"/>
                  </a:solidFill>
                </a:rPr>
                <a:t>&lt;TEXT&gt;</a:t>
              </a:r>
            </a:p>
          </p:txBody>
        </p:sp>
        <p:sp>
          <p:nvSpPr>
            <p:cNvPr id="31" name="Slide Number" hidden="1">
              <a:extLst>
                <a:ext uri="{FF2B5EF4-FFF2-40B4-BE49-F238E27FC236}">
                  <a16:creationId xmlns:a16="http://schemas.microsoft.com/office/drawing/2014/main" id="{82043C9A-CCFB-4571-A382-24BCE828DCC2}"/>
                </a:ext>
              </a:extLst>
            </p:cNvPr>
            <p:cNvSpPr txBox="1">
              <a:spLocks/>
            </p:cNvSpPr>
            <p:nvPr/>
          </p:nvSpPr>
          <p:spPr>
            <a:xfrm flipH="1">
              <a:off x="10438543" y="3426104"/>
              <a:ext cx="672049" cy="344487"/>
            </a:xfrm>
            <a:prstGeom prst="rect">
              <a:avLst/>
            </a:prstGeom>
            <a:noFill/>
          </p:spPr>
          <p:txBody>
            <a:bodyPr wrap="none" lIns="0" tIns="0" rIns="0" bIns="0" rtlCol="0" anchor="ctr">
              <a:noAutofit/>
            </a:bodyPr>
            <a:lstStyle/>
            <a:p>
              <a:pPr algn="r"/>
              <a:r>
                <a:rPr lang="en-US" sz="2177" b="0" dirty="0">
                  <a:solidFill>
                    <a:schemeClr val="tx1"/>
                  </a:solidFill>
                </a:rPr>
                <a:t>&lt;P&gt;</a:t>
              </a:r>
            </a:p>
          </p:txBody>
        </p:sp>
        <p:sp>
          <p:nvSpPr>
            <p:cNvPr id="32" name="Graphic 9" hidden="1">
              <a:extLst>
                <a:ext uri="{FF2B5EF4-FFF2-40B4-BE49-F238E27FC236}">
                  <a16:creationId xmlns:a16="http://schemas.microsoft.com/office/drawing/2014/main" id="{215B09D0-38EE-42A4-98E8-5C378FE317C6}"/>
                </a:ext>
              </a:extLst>
            </p:cNvPr>
            <p:cNvSpPr>
              <a:spLocks/>
            </p:cNvSpPr>
            <p:nvPr/>
          </p:nvSpPr>
          <p:spPr>
            <a:xfrm>
              <a:off x="1081407" y="3502339"/>
              <a:ext cx="270711" cy="192017"/>
            </a:xfrm>
            <a:custGeom>
              <a:avLst/>
              <a:gdLst>
                <a:gd name="connsiteX0" fmla="*/ 736516 w 857147"/>
                <a:gd name="connsiteY0" fmla="*/ 152031 h 607980"/>
                <a:gd name="connsiteX1" fmla="*/ 594974 w 857147"/>
                <a:gd name="connsiteY1" fmla="*/ 25444 h 607980"/>
                <a:gd name="connsiteX2" fmla="*/ 527251 w 857147"/>
                <a:gd name="connsiteY2" fmla="*/ -274 h 607980"/>
                <a:gd name="connsiteX3" fmla="*/ 101103 w 857147"/>
                <a:gd name="connsiteY3" fmla="*/ -274 h 607980"/>
                <a:gd name="connsiteX4" fmla="*/ -624 w 857147"/>
                <a:gd name="connsiteY4" fmla="*/ 101453 h 607980"/>
                <a:gd name="connsiteX5" fmla="*/ -624 w 857147"/>
                <a:gd name="connsiteY5" fmla="*/ 101644 h 607980"/>
                <a:gd name="connsiteX6" fmla="*/ -624 w 857147"/>
                <a:gd name="connsiteY6" fmla="*/ 505980 h 607980"/>
                <a:gd name="connsiteX7" fmla="*/ 101103 w 857147"/>
                <a:gd name="connsiteY7" fmla="*/ 607707 h 607980"/>
                <a:gd name="connsiteX8" fmla="*/ 527251 w 857147"/>
                <a:gd name="connsiteY8" fmla="*/ 607707 h 607980"/>
                <a:gd name="connsiteX9" fmla="*/ 594974 w 857147"/>
                <a:gd name="connsiteY9" fmla="*/ 581894 h 607980"/>
                <a:gd name="connsiteX10" fmla="*/ 736516 w 857147"/>
                <a:gd name="connsiteY10" fmla="*/ 455783 h 607980"/>
                <a:gd name="connsiteX11" fmla="*/ 822241 w 857147"/>
                <a:gd name="connsiteY11" fmla="*/ 379583 h 607980"/>
                <a:gd name="connsiteX12" fmla="*/ 830899 w 857147"/>
                <a:gd name="connsiteY12" fmla="*/ 235841 h 607980"/>
                <a:gd name="connsiteX13" fmla="*/ 822241 w 857147"/>
                <a:gd name="connsiteY13" fmla="*/ 227183 h 60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147" h="607980">
                  <a:moveTo>
                    <a:pt x="736516" y="152031"/>
                  </a:moveTo>
                  <a:lnTo>
                    <a:pt x="594974" y="25444"/>
                  </a:lnTo>
                  <a:cubicBezTo>
                    <a:pt x="576305" y="8870"/>
                    <a:pt x="552216" y="-274"/>
                    <a:pt x="527251" y="-274"/>
                  </a:cubicBezTo>
                  <a:lnTo>
                    <a:pt x="101103" y="-274"/>
                  </a:lnTo>
                  <a:cubicBezTo>
                    <a:pt x="44924" y="-274"/>
                    <a:pt x="-624" y="45275"/>
                    <a:pt x="-624" y="101453"/>
                  </a:cubicBezTo>
                  <a:cubicBezTo>
                    <a:pt x="-624" y="101520"/>
                    <a:pt x="-624" y="101577"/>
                    <a:pt x="-624" y="101644"/>
                  </a:cubicBezTo>
                  <a:lnTo>
                    <a:pt x="-624" y="505980"/>
                  </a:lnTo>
                  <a:cubicBezTo>
                    <a:pt x="-624" y="562158"/>
                    <a:pt x="44924" y="607707"/>
                    <a:pt x="101103" y="607707"/>
                  </a:cubicBezTo>
                  <a:lnTo>
                    <a:pt x="527251" y="607707"/>
                  </a:lnTo>
                  <a:cubicBezTo>
                    <a:pt x="552226" y="607669"/>
                    <a:pt x="576314" y="598487"/>
                    <a:pt x="594974" y="581894"/>
                  </a:cubicBezTo>
                  <a:lnTo>
                    <a:pt x="736516" y="455783"/>
                  </a:lnTo>
                  <a:lnTo>
                    <a:pt x="822241" y="379583"/>
                  </a:lnTo>
                  <a:cubicBezTo>
                    <a:pt x="864322" y="342283"/>
                    <a:pt x="868199" y="277932"/>
                    <a:pt x="830899" y="235841"/>
                  </a:cubicBezTo>
                  <a:cubicBezTo>
                    <a:pt x="828194" y="232784"/>
                    <a:pt x="825298" y="229898"/>
                    <a:pt x="822241" y="227183"/>
                  </a:cubicBezTo>
                  <a:close/>
                </a:path>
              </a:pathLst>
            </a:custGeom>
            <a:solidFill>
              <a:schemeClr val="bg1"/>
            </a:solidFill>
            <a:ln w="19050" cap="flat">
              <a:noFill/>
              <a:prstDash val="solid"/>
              <a:miter/>
            </a:ln>
          </p:spPr>
          <p:txBody>
            <a:bodyPr rtlCol="0" anchor="ctr"/>
            <a:lstStyle/>
            <a:p>
              <a:endParaRPr lang="fr-FR" sz="1270" dirty="0"/>
            </a:p>
          </p:txBody>
        </p:sp>
      </p:grpSp>
      <p:grpSp>
        <p:nvGrpSpPr>
          <p:cNvPr id="33" name="SP Agenda Section" hidden="1">
            <a:extLst>
              <a:ext uri="{FF2B5EF4-FFF2-40B4-BE49-F238E27FC236}">
                <a16:creationId xmlns:a16="http://schemas.microsoft.com/office/drawing/2014/main" id="{837AF3CA-B8B3-4F43-A3EE-5C584C78E219}"/>
              </a:ext>
            </a:extLst>
          </p:cNvPr>
          <p:cNvGrpSpPr>
            <a:grpSpLocks/>
          </p:cNvGrpSpPr>
          <p:nvPr/>
        </p:nvGrpSpPr>
        <p:grpSpPr>
          <a:xfrm>
            <a:off x="1222281" y="1547163"/>
            <a:ext cx="10131578" cy="1950988"/>
            <a:chOff x="1788139" y="1105382"/>
            <a:chExt cx="9824128" cy="2150603"/>
          </a:xfrm>
        </p:grpSpPr>
        <p:sp>
          <p:nvSpPr>
            <p:cNvPr id="34" name="Section Title" hidden="1">
              <a:extLst>
                <a:ext uri="{FF2B5EF4-FFF2-40B4-BE49-F238E27FC236}">
                  <a16:creationId xmlns:a16="http://schemas.microsoft.com/office/drawing/2014/main" id="{DFD63EB6-3C4D-4BA8-8A21-4013E774113F}"/>
                </a:ext>
              </a:extLst>
            </p:cNvPr>
            <p:cNvSpPr txBox="1">
              <a:spLocks/>
            </p:cNvSpPr>
            <p:nvPr/>
          </p:nvSpPr>
          <p:spPr>
            <a:xfrm>
              <a:off x="1797664" y="2085631"/>
              <a:ext cx="9814603" cy="1170354"/>
            </a:xfrm>
            <a:prstGeom prst="rect">
              <a:avLst/>
            </a:prstGeom>
            <a:noFill/>
          </p:spPr>
          <p:txBody>
            <a:bodyPr wrap="square" lIns="0" rtlCol="0" anchor="t">
              <a:normAutofit/>
            </a:bodyPr>
            <a:lstStyle/>
            <a:p>
              <a:pPr defTabSz="7426477">
                <a:tabLst>
                  <a:tab pos="7567933" algn="l"/>
                </a:tabLst>
              </a:pPr>
              <a:r>
                <a:rPr lang="en-US" sz="2903" b="1" dirty="0">
                  <a:solidFill>
                    <a:schemeClr val="tx1"/>
                  </a:solidFill>
                </a:rPr>
                <a:t>&lt;TEXT&gt;</a:t>
              </a:r>
            </a:p>
          </p:txBody>
        </p:sp>
        <p:sp>
          <p:nvSpPr>
            <p:cNvPr id="35" name="Section Number" hidden="1">
              <a:extLst>
                <a:ext uri="{FF2B5EF4-FFF2-40B4-BE49-F238E27FC236}">
                  <a16:creationId xmlns:a16="http://schemas.microsoft.com/office/drawing/2014/main" id="{48144A82-D0DA-48BF-93AB-FFE954612912}"/>
                </a:ext>
              </a:extLst>
            </p:cNvPr>
            <p:cNvSpPr txBox="1">
              <a:spLocks/>
            </p:cNvSpPr>
            <p:nvPr/>
          </p:nvSpPr>
          <p:spPr>
            <a:xfrm>
              <a:off x="1788139" y="1105382"/>
              <a:ext cx="1614536" cy="687643"/>
            </a:xfrm>
            <a:prstGeom prst="rect">
              <a:avLst/>
            </a:prstGeom>
            <a:noFill/>
          </p:spPr>
          <p:txBody>
            <a:bodyPr wrap="none" lIns="0" rtlCol="0" anchor="ctr">
              <a:noAutofit/>
            </a:bodyPr>
            <a:lstStyle/>
            <a:p>
              <a:pPr algn="l"/>
              <a:r>
                <a:rPr lang="en-US" sz="5443" b="1" dirty="0">
                  <a:solidFill>
                    <a:schemeClr val="tx1"/>
                  </a:solidFill>
                </a:rPr>
                <a:t>&lt;N&gt;</a:t>
              </a:r>
            </a:p>
          </p:txBody>
        </p:sp>
      </p:grpSp>
      <p:sp>
        <p:nvSpPr>
          <p:cNvPr id="12" name="Date Placeholder 7">
            <a:extLst>
              <a:ext uri="{FF2B5EF4-FFF2-40B4-BE49-F238E27FC236}">
                <a16:creationId xmlns:a16="http://schemas.microsoft.com/office/drawing/2014/main" id="{7F7262BE-0046-498F-9B30-790E290A18E0}"/>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13" name="Footer Placeholder 8">
            <a:extLst>
              <a:ext uri="{FF2B5EF4-FFF2-40B4-BE49-F238E27FC236}">
                <a16:creationId xmlns:a16="http://schemas.microsoft.com/office/drawing/2014/main" id="{83A1E229-E799-412F-A5A2-4E28081D5971}"/>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4" name="Slide Number Placeholder 9">
            <a:extLst>
              <a:ext uri="{FF2B5EF4-FFF2-40B4-BE49-F238E27FC236}">
                <a16:creationId xmlns:a16="http://schemas.microsoft.com/office/drawing/2014/main" id="{4D763B76-7921-419A-8DF2-9D54C5FBF03A}"/>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7990481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C1C6E-02E2-4839-AEAC-ECB12AB92B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FR"/>
          </a:p>
        </p:txBody>
      </p:sp>
      <p:sp>
        <p:nvSpPr>
          <p:cNvPr id="3" name="Subtitle 2">
            <a:extLst>
              <a:ext uri="{FF2B5EF4-FFF2-40B4-BE49-F238E27FC236}">
                <a16:creationId xmlns:a16="http://schemas.microsoft.com/office/drawing/2014/main" id="{800F8A0C-0D4F-431E-B2A2-0D0A064CBB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4" name="Date Placeholder 3">
            <a:extLst>
              <a:ext uri="{FF2B5EF4-FFF2-40B4-BE49-F238E27FC236}">
                <a16:creationId xmlns:a16="http://schemas.microsoft.com/office/drawing/2014/main" id="{1F8F63A3-BCEC-43E3-9940-4D278B418D4C}"/>
              </a:ext>
            </a:extLst>
          </p:cNvPr>
          <p:cNvSpPr>
            <a:spLocks noGrp="1"/>
          </p:cNvSpPr>
          <p:nvPr>
            <p:ph type="dt" sz="half" idx="10"/>
          </p:nvPr>
        </p:nvSpPr>
        <p:spPr/>
        <p:txBody>
          <a:bodyPr/>
          <a:lstStyle/>
          <a:p>
            <a:fld id="{F943793B-9F92-43B3-976D-F47FB312BAB5}" type="datetimeFigureOut">
              <a:rPr lang="fr-FR" smtClean="0"/>
              <a:t>30/08/2022</a:t>
            </a:fld>
            <a:endParaRPr lang="fr-FR" dirty="0"/>
          </a:p>
        </p:txBody>
      </p:sp>
      <p:sp>
        <p:nvSpPr>
          <p:cNvPr id="5" name="Footer Placeholder 4">
            <a:extLst>
              <a:ext uri="{FF2B5EF4-FFF2-40B4-BE49-F238E27FC236}">
                <a16:creationId xmlns:a16="http://schemas.microsoft.com/office/drawing/2014/main" id="{859DD76B-D383-45BC-B720-BE4DEC938CD4}"/>
              </a:ext>
            </a:extLst>
          </p:cNvPr>
          <p:cNvSpPr>
            <a:spLocks noGrp="1"/>
          </p:cNvSpPr>
          <p:nvPr>
            <p:ph type="ftr" sz="quarter" idx="11"/>
          </p:nvPr>
        </p:nvSpPr>
        <p:spPr/>
        <p:txBody>
          <a:bodyPr/>
          <a:lstStyle/>
          <a:p>
            <a:endParaRPr lang="fr-FR" dirty="0"/>
          </a:p>
        </p:txBody>
      </p:sp>
      <p:sp>
        <p:nvSpPr>
          <p:cNvPr id="6" name="Slide Number Placeholder 5">
            <a:extLst>
              <a:ext uri="{FF2B5EF4-FFF2-40B4-BE49-F238E27FC236}">
                <a16:creationId xmlns:a16="http://schemas.microsoft.com/office/drawing/2014/main" id="{0C3A4D6C-CA3A-4132-AC83-5C9BB2E21D7B}"/>
              </a:ext>
            </a:extLst>
          </p:cNvPr>
          <p:cNvSpPr>
            <a:spLocks noGrp="1"/>
          </p:cNvSpPr>
          <p:nvPr>
            <p:ph type="sldNum" sz="quarter" idx="12"/>
          </p:nvPr>
        </p:nvSpPr>
        <p:spPr/>
        <p:txBody>
          <a:bodyPr/>
          <a:lstStyle/>
          <a:p>
            <a:fld id="{DFF2F118-7979-4047-939B-5DFB70C3D7CE}" type="slidenum">
              <a:rPr lang="fr-FR" smtClean="0"/>
              <a:t>‹N°›</a:t>
            </a:fld>
            <a:endParaRPr lang="fr-FR" dirty="0"/>
          </a:p>
        </p:txBody>
      </p:sp>
    </p:spTree>
    <p:extLst>
      <p:ext uri="{BB962C8B-B14F-4D97-AF65-F5344CB8AC3E}">
        <p14:creationId xmlns:p14="http://schemas.microsoft.com/office/powerpoint/2010/main" val="33271342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421CB-9B44-4F7D-8176-7B1B489CBAE3}"/>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2F317536-C67F-4D59-93BD-D4AC0579D8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3EA87758-AA64-46AB-8A1D-5B299D7B7643}"/>
              </a:ext>
            </a:extLst>
          </p:cNvPr>
          <p:cNvSpPr>
            <a:spLocks noGrp="1"/>
          </p:cNvSpPr>
          <p:nvPr>
            <p:ph type="dt" sz="half" idx="10"/>
          </p:nvPr>
        </p:nvSpPr>
        <p:spPr/>
        <p:txBody>
          <a:bodyPr/>
          <a:lstStyle/>
          <a:p>
            <a:fld id="{F943793B-9F92-43B3-976D-F47FB312BAB5}" type="datetimeFigureOut">
              <a:rPr lang="fr-FR" smtClean="0"/>
              <a:t>30/08/2022</a:t>
            </a:fld>
            <a:endParaRPr lang="fr-FR" dirty="0"/>
          </a:p>
        </p:txBody>
      </p:sp>
      <p:sp>
        <p:nvSpPr>
          <p:cNvPr id="5" name="Footer Placeholder 4">
            <a:extLst>
              <a:ext uri="{FF2B5EF4-FFF2-40B4-BE49-F238E27FC236}">
                <a16:creationId xmlns:a16="http://schemas.microsoft.com/office/drawing/2014/main" id="{5932C6AF-C0A0-4180-923D-5A146A5EB833}"/>
              </a:ext>
            </a:extLst>
          </p:cNvPr>
          <p:cNvSpPr>
            <a:spLocks noGrp="1"/>
          </p:cNvSpPr>
          <p:nvPr>
            <p:ph type="ftr" sz="quarter" idx="11"/>
          </p:nvPr>
        </p:nvSpPr>
        <p:spPr/>
        <p:txBody>
          <a:bodyPr/>
          <a:lstStyle/>
          <a:p>
            <a:endParaRPr lang="fr-FR" dirty="0"/>
          </a:p>
        </p:txBody>
      </p:sp>
      <p:sp>
        <p:nvSpPr>
          <p:cNvPr id="6" name="Slide Number Placeholder 5">
            <a:extLst>
              <a:ext uri="{FF2B5EF4-FFF2-40B4-BE49-F238E27FC236}">
                <a16:creationId xmlns:a16="http://schemas.microsoft.com/office/drawing/2014/main" id="{EB9354C2-2F07-41E7-8C8A-ED35D22EB085}"/>
              </a:ext>
            </a:extLst>
          </p:cNvPr>
          <p:cNvSpPr>
            <a:spLocks noGrp="1"/>
          </p:cNvSpPr>
          <p:nvPr>
            <p:ph type="sldNum" sz="quarter" idx="12"/>
          </p:nvPr>
        </p:nvSpPr>
        <p:spPr/>
        <p:txBody>
          <a:bodyPr/>
          <a:lstStyle/>
          <a:p>
            <a:fld id="{DFF2F118-7979-4047-939B-5DFB70C3D7CE}" type="slidenum">
              <a:rPr lang="fr-FR" smtClean="0"/>
              <a:t>‹N°›</a:t>
            </a:fld>
            <a:endParaRPr lang="fr-FR" dirty="0"/>
          </a:p>
        </p:txBody>
      </p:sp>
    </p:spTree>
    <p:extLst>
      <p:ext uri="{BB962C8B-B14F-4D97-AF65-F5344CB8AC3E}">
        <p14:creationId xmlns:p14="http://schemas.microsoft.com/office/powerpoint/2010/main" val="2643753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Divider - Deloitte white">
    <p:bg bwMode="gray">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FEED857-63BB-4D9D-B816-999B7FF0BA3F}"/>
              </a:ext>
            </a:extLst>
          </p:cNvPr>
          <p:cNvSpPr>
            <a:spLocks noGrp="1"/>
          </p:cNvSpPr>
          <p:nvPr>
            <p:ph type="pic" sz="quarter" idx="10"/>
          </p:nvPr>
        </p:nvSpPr>
        <p:spPr>
          <a:xfrm>
            <a:off x="1" y="0"/>
            <a:ext cx="12192000" cy="6858000"/>
          </a:xfrm>
        </p:spPr>
        <p:txBody>
          <a:bodyPr/>
          <a:lstStyle/>
          <a:p>
            <a:r>
              <a:rPr lang="en-US" dirty="0"/>
              <a:t>Click icon to add picture</a:t>
            </a:r>
            <a:endParaRPr lang="fr-FR" dirty="0"/>
          </a:p>
        </p:txBody>
      </p:sp>
      <p:sp>
        <p:nvSpPr>
          <p:cNvPr id="2" name="Title 1"/>
          <p:cNvSpPr>
            <a:spLocks noGrp="1"/>
          </p:cNvSpPr>
          <p:nvPr>
            <p:ph type="title"/>
          </p:nvPr>
        </p:nvSpPr>
        <p:spPr bwMode="gray">
          <a:xfrm>
            <a:off x="501650" y="254372"/>
            <a:ext cx="10541000" cy="661856"/>
          </a:xfrm>
        </p:spPr>
        <p:txBody>
          <a:bodyPr anchor="b"/>
          <a:lstStyle>
            <a:lvl1pPr>
              <a:lnSpc>
                <a:spcPct val="95000"/>
              </a:lnSpc>
              <a:defRPr sz="2903"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0" y="989327"/>
            <a:ext cx="10541000" cy="1566532"/>
          </a:xfrm>
        </p:spPr>
        <p:txBody>
          <a:bodyPr lIns="0" tIns="0" rIns="0" bIns="0">
            <a:noAutofit/>
          </a:bodyPr>
          <a:lstStyle>
            <a:lvl1pPr marL="0" indent="0">
              <a:lnSpc>
                <a:spcPct val="95000"/>
              </a:lnSpc>
              <a:spcAft>
                <a:spcPts val="0"/>
              </a:spcAft>
              <a:buNone/>
              <a:defRPr sz="2903">
                <a:solidFill>
                  <a:schemeClr val="tx1"/>
                </a:solidFill>
                <a:latin typeface="+mn-lt"/>
                <a:cs typeface="Calibri" panose="020F0502020204030204" pitchFamily="34" charset="0"/>
              </a:defRPr>
            </a:lvl1pPr>
            <a:lvl2pPr marL="534608" indent="0">
              <a:buNone/>
              <a:defRPr sz="2339">
                <a:solidFill>
                  <a:schemeClr val="tx1">
                    <a:tint val="75000"/>
                  </a:schemeClr>
                </a:solidFill>
              </a:defRPr>
            </a:lvl2pPr>
            <a:lvl3pPr marL="1069215" indent="0">
              <a:buNone/>
              <a:defRPr sz="2105">
                <a:solidFill>
                  <a:schemeClr val="tx1">
                    <a:tint val="75000"/>
                  </a:schemeClr>
                </a:solidFill>
              </a:defRPr>
            </a:lvl3pPr>
            <a:lvl4pPr marL="1603823" indent="0">
              <a:buNone/>
              <a:defRPr sz="1871">
                <a:solidFill>
                  <a:schemeClr val="tx1">
                    <a:tint val="75000"/>
                  </a:schemeClr>
                </a:solidFill>
              </a:defRPr>
            </a:lvl4pPr>
            <a:lvl5pPr marL="2138430" indent="0">
              <a:buNone/>
              <a:defRPr sz="1871">
                <a:solidFill>
                  <a:schemeClr val="tx1">
                    <a:tint val="75000"/>
                  </a:schemeClr>
                </a:solidFill>
              </a:defRPr>
            </a:lvl5pPr>
            <a:lvl6pPr marL="2673038" indent="0">
              <a:buNone/>
              <a:defRPr sz="1871">
                <a:solidFill>
                  <a:schemeClr val="tx1">
                    <a:tint val="75000"/>
                  </a:schemeClr>
                </a:solidFill>
              </a:defRPr>
            </a:lvl6pPr>
            <a:lvl7pPr marL="3207645" indent="0">
              <a:buNone/>
              <a:defRPr sz="1871">
                <a:solidFill>
                  <a:schemeClr val="tx1">
                    <a:tint val="75000"/>
                  </a:schemeClr>
                </a:solidFill>
              </a:defRPr>
            </a:lvl7pPr>
            <a:lvl8pPr marL="3742253" indent="0">
              <a:buNone/>
              <a:defRPr sz="1871">
                <a:solidFill>
                  <a:schemeClr val="tx1">
                    <a:tint val="75000"/>
                  </a:schemeClr>
                </a:solidFill>
              </a:defRPr>
            </a:lvl8pPr>
            <a:lvl9pPr marL="4276860" indent="0">
              <a:buNone/>
              <a:defRPr sz="1871">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65157939-548B-4915-86E8-E80B6FA221C3}"/>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8" name="Footer Placeholder 8">
            <a:extLst>
              <a:ext uri="{FF2B5EF4-FFF2-40B4-BE49-F238E27FC236}">
                <a16:creationId xmlns:a16="http://schemas.microsoft.com/office/drawing/2014/main" id="{B27E5292-9E6C-47AF-827C-D64AEBA6033E}"/>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9" name="Slide Number Placeholder 9">
            <a:extLst>
              <a:ext uri="{FF2B5EF4-FFF2-40B4-BE49-F238E27FC236}">
                <a16:creationId xmlns:a16="http://schemas.microsoft.com/office/drawing/2014/main" id="{CEBDC2BA-D778-4D35-90CE-7B2BBF1211B2}"/>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731745630"/>
      </p:ext>
    </p:extLst>
  </p:cSld>
  <p:clrMapOvr>
    <a:masterClrMapping/>
  </p:clrMapOvr>
  <p:transition>
    <p:fade/>
  </p:transition>
  <p:extLst>
    <p:ext uri="{DCECCB84-F9BA-43D5-87BE-67443E8EF086}">
      <p15:sldGuideLst xmlns:p15="http://schemas.microsoft.com/office/powerpoint/2012/main">
        <p15:guide id="1" orient="horz" pos="238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Divider - Deloitte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0" y="1705671"/>
            <a:ext cx="10541000" cy="1592403"/>
          </a:xfrm>
        </p:spPr>
        <p:txBody>
          <a:bodyPr anchor="b"/>
          <a:lstStyle>
            <a:lvl1pPr>
              <a:lnSpc>
                <a:spcPct val="95000"/>
              </a:lnSpc>
              <a:defRPr sz="3266"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0" y="3429001"/>
            <a:ext cx="10541000" cy="1566532"/>
          </a:xfrm>
        </p:spPr>
        <p:txBody>
          <a:bodyPr lIns="0" tIns="0" rIns="0" bIns="0">
            <a:noAutofit/>
          </a:bodyPr>
          <a:lstStyle>
            <a:lvl1pPr marL="0" indent="0">
              <a:lnSpc>
                <a:spcPct val="95000"/>
              </a:lnSpc>
              <a:spcAft>
                <a:spcPts val="0"/>
              </a:spcAft>
              <a:buNone/>
              <a:defRPr sz="3266">
                <a:solidFill>
                  <a:schemeClr val="tx1"/>
                </a:solidFill>
                <a:latin typeface="+mn-lt"/>
                <a:cs typeface="Calibri" panose="020F0502020204030204" pitchFamily="34" charset="0"/>
              </a:defRPr>
            </a:lvl1pPr>
            <a:lvl2pPr marL="534608" indent="0">
              <a:buNone/>
              <a:defRPr sz="2339">
                <a:solidFill>
                  <a:schemeClr val="tx1">
                    <a:tint val="75000"/>
                  </a:schemeClr>
                </a:solidFill>
              </a:defRPr>
            </a:lvl2pPr>
            <a:lvl3pPr marL="1069215" indent="0">
              <a:buNone/>
              <a:defRPr sz="2105">
                <a:solidFill>
                  <a:schemeClr val="tx1">
                    <a:tint val="75000"/>
                  </a:schemeClr>
                </a:solidFill>
              </a:defRPr>
            </a:lvl3pPr>
            <a:lvl4pPr marL="1603823" indent="0">
              <a:buNone/>
              <a:defRPr sz="1871">
                <a:solidFill>
                  <a:schemeClr val="tx1">
                    <a:tint val="75000"/>
                  </a:schemeClr>
                </a:solidFill>
              </a:defRPr>
            </a:lvl4pPr>
            <a:lvl5pPr marL="2138430" indent="0">
              <a:buNone/>
              <a:defRPr sz="1871">
                <a:solidFill>
                  <a:schemeClr val="tx1">
                    <a:tint val="75000"/>
                  </a:schemeClr>
                </a:solidFill>
              </a:defRPr>
            </a:lvl5pPr>
            <a:lvl6pPr marL="2673038" indent="0">
              <a:buNone/>
              <a:defRPr sz="1871">
                <a:solidFill>
                  <a:schemeClr val="tx1">
                    <a:tint val="75000"/>
                  </a:schemeClr>
                </a:solidFill>
              </a:defRPr>
            </a:lvl6pPr>
            <a:lvl7pPr marL="3207645" indent="0">
              <a:buNone/>
              <a:defRPr sz="1871">
                <a:solidFill>
                  <a:schemeClr val="tx1">
                    <a:tint val="75000"/>
                  </a:schemeClr>
                </a:solidFill>
              </a:defRPr>
            </a:lvl7pPr>
            <a:lvl8pPr marL="3742253" indent="0">
              <a:buNone/>
              <a:defRPr sz="1871">
                <a:solidFill>
                  <a:schemeClr val="tx1">
                    <a:tint val="75000"/>
                  </a:schemeClr>
                </a:solidFill>
              </a:defRPr>
            </a:lvl8pPr>
            <a:lvl9pPr marL="4276860" indent="0">
              <a:buNone/>
              <a:defRPr sz="1871">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A5DC8085-AD7E-4F96-8518-6DFA931B2397}"/>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8" name="Footer Placeholder 8">
            <a:extLst>
              <a:ext uri="{FF2B5EF4-FFF2-40B4-BE49-F238E27FC236}">
                <a16:creationId xmlns:a16="http://schemas.microsoft.com/office/drawing/2014/main" id="{4334B87F-AD2E-4CF0-AA69-D6E93B02558A}"/>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9" name="Slide Number Placeholder 9">
            <a:extLst>
              <a:ext uri="{FF2B5EF4-FFF2-40B4-BE49-F238E27FC236}">
                <a16:creationId xmlns:a16="http://schemas.microsoft.com/office/drawing/2014/main" id="{F35CBCED-A830-464E-9593-CD13F02FAD51}"/>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41270500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Divider - Deloitte white">
    <p:bg bwMode="gray">
      <p:bgPr>
        <a:solidFill>
          <a:srgbClr val="00ABA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0" y="1705671"/>
            <a:ext cx="10541000" cy="1592403"/>
          </a:xfrm>
        </p:spPr>
        <p:txBody>
          <a:bodyPr anchor="b"/>
          <a:lstStyle>
            <a:lvl1pPr>
              <a:lnSpc>
                <a:spcPct val="95000"/>
              </a:lnSpc>
              <a:defRPr sz="3266"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0" y="3429001"/>
            <a:ext cx="10541000" cy="1566532"/>
          </a:xfrm>
        </p:spPr>
        <p:txBody>
          <a:bodyPr lIns="0" tIns="0" rIns="0" bIns="0">
            <a:noAutofit/>
          </a:bodyPr>
          <a:lstStyle>
            <a:lvl1pPr marL="0" indent="0">
              <a:lnSpc>
                <a:spcPct val="95000"/>
              </a:lnSpc>
              <a:spcAft>
                <a:spcPts val="0"/>
              </a:spcAft>
              <a:buNone/>
              <a:defRPr sz="3266">
                <a:solidFill>
                  <a:schemeClr val="tx1"/>
                </a:solidFill>
                <a:latin typeface="+mn-lt"/>
                <a:cs typeface="Calibri" panose="020F0502020204030204" pitchFamily="34" charset="0"/>
              </a:defRPr>
            </a:lvl1pPr>
            <a:lvl2pPr marL="534608" indent="0">
              <a:buNone/>
              <a:defRPr sz="2339">
                <a:solidFill>
                  <a:schemeClr val="tx1">
                    <a:tint val="75000"/>
                  </a:schemeClr>
                </a:solidFill>
              </a:defRPr>
            </a:lvl2pPr>
            <a:lvl3pPr marL="1069215" indent="0">
              <a:buNone/>
              <a:defRPr sz="2105">
                <a:solidFill>
                  <a:schemeClr val="tx1">
                    <a:tint val="75000"/>
                  </a:schemeClr>
                </a:solidFill>
              </a:defRPr>
            </a:lvl3pPr>
            <a:lvl4pPr marL="1603823" indent="0">
              <a:buNone/>
              <a:defRPr sz="1871">
                <a:solidFill>
                  <a:schemeClr val="tx1">
                    <a:tint val="75000"/>
                  </a:schemeClr>
                </a:solidFill>
              </a:defRPr>
            </a:lvl4pPr>
            <a:lvl5pPr marL="2138430" indent="0">
              <a:buNone/>
              <a:defRPr sz="1871">
                <a:solidFill>
                  <a:schemeClr val="tx1">
                    <a:tint val="75000"/>
                  </a:schemeClr>
                </a:solidFill>
              </a:defRPr>
            </a:lvl5pPr>
            <a:lvl6pPr marL="2673038" indent="0">
              <a:buNone/>
              <a:defRPr sz="1871">
                <a:solidFill>
                  <a:schemeClr val="tx1">
                    <a:tint val="75000"/>
                  </a:schemeClr>
                </a:solidFill>
              </a:defRPr>
            </a:lvl6pPr>
            <a:lvl7pPr marL="3207645" indent="0">
              <a:buNone/>
              <a:defRPr sz="1871">
                <a:solidFill>
                  <a:schemeClr val="tx1">
                    <a:tint val="75000"/>
                  </a:schemeClr>
                </a:solidFill>
              </a:defRPr>
            </a:lvl7pPr>
            <a:lvl8pPr marL="3742253" indent="0">
              <a:buNone/>
              <a:defRPr sz="1871">
                <a:solidFill>
                  <a:schemeClr val="tx1">
                    <a:tint val="75000"/>
                  </a:schemeClr>
                </a:solidFill>
              </a:defRPr>
            </a:lvl8pPr>
            <a:lvl9pPr marL="4276860" indent="0">
              <a:buNone/>
              <a:defRPr sz="1871">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12B2C9AA-2955-451E-BD3B-D359DD5E535F}"/>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8" name="Footer Placeholder 8">
            <a:extLst>
              <a:ext uri="{FF2B5EF4-FFF2-40B4-BE49-F238E27FC236}">
                <a16:creationId xmlns:a16="http://schemas.microsoft.com/office/drawing/2014/main" id="{E9524602-F893-4843-9ED2-DDCD10CF9305}"/>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9" name="Slide Number Placeholder 9">
            <a:extLst>
              <a:ext uri="{FF2B5EF4-FFF2-40B4-BE49-F238E27FC236}">
                <a16:creationId xmlns:a16="http://schemas.microsoft.com/office/drawing/2014/main" id="{6B3340F5-01B8-4F20-B9BB-59132F36331D}"/>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39401711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Divider - Deloitte white">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0" y="1705671"/>
            <a:ext cx="10541000" cy="1592403"/>
          </a:xfrm>
        </p:spPr>
        <p:txBody>
          <a:bodyPr anchor="b"/>
          <a:lstStyle>
            <a:lvl1pPr>
              <a:lnSpc>
                <a:spcPct val="95000"/>
              </a:lnSpc>
              <a:defRPr sz="3266"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0" y="3429001"/>
            <a:ext cx="10541000" cy="1566532"/>
          </a:xfrm>
        </p:spPr>
        <p:txBody>
          <a:bodyPr lIns="0" tIns="0" rIns="0" bIns="0">
            <a:noAutofit/>
          </a:bodyPr>
          <a:lstStyle>
            <a:lvl1pPr marL="0" indent="0">
              <a:lnSpc>
                <a:spcPct val="95000"/>
              </a:lnSpc>
              <a:spcAft>
                <a:spcPts val="0"/>
              </a:spcAft>
              <a:buNone/>
              <a:defRPr sz="3266">
                <a:solidFill>
                  <a:schemeClr val="tx1"/>
                </a:solidFill>
                <a:latin typeface="+mn-lt"/>
                <a:cs typeface="Calibri" panose="020F0502020204030204" pitchFamily="34" charset="0"/>
              </a:defRPr>
            </a:lvl1pPr>
            <a:lvl2pPr marL="534608" indent="0">
              <a:buNone/>
              <a:defRPr sz="2339">
                <a:solidFill>
                  <a:schemeClr val="tx1">
                    <a:tint val="75000"/>
                  </a:schemeClr>
                </a:solidFill>
              </a:defRPr>
            </a:lvl2pPr>
            <a:lvl3pPr marL="1069215" indent="0">
              <a:buNone/>
              <a:defRPr sz="2105">
                <a:solidFill>
                  <a:schemeClr val="tx1">
                    <a:tint val="75000"/>
                  </a:schemeClr>
                </a:solidFill>
              </a:defRPr>
            </a:lvl3pPr>
            <a:lvl4pPr marL="1603823" indent="0">
              <a:buNone/>
              <a:defRPr sz="1871">
                <a:solidFill>
                  <a:schemeClr val="tx1">
                    <a:tint val="75000"/>
                  </a:schemeClr>
                </a:solidFill>
              </a:defRPr>
            </a:lvl4pPr>
            <a:lvl5pPr marL="2138430" indent="0">
              <a:buNone/>
              <a:defRPr sz="1871">
                <a:solidFill>
                  <a:schemeClr val="tx1">
                    <a:tint val="75000"/>
                  </a:schemeClr>
                </a:solidFill>
              </a:defRPr>
            </a:lvl5pPr>
            <a:lvl6pPr marL="2673038" indent="0">
              <a:buNone/>
              <a:defRPr sz="1871">
                <a:solidFill>
                  <a:schemeClr val="tx1">
                    <a:tint val="75000"/>
                  </a:schemeClr>
                </a:solidFill>
              </a:defRPr>
            </a:lvl6pPr>
            <a:lvl7pPr marL="3207645" indent="0">
              <a:buNone/>
              <a:defRPr sz="1871">
                <a:solidFill>
                  <a:schemeClr val="tx1">
                    <a:tint val="75000"/>
                  </a:schemeClr>
                </a:solidFill>
              </a:defRPr>
            </a:lvl7pPr>
            <a:lvl8pPr marL="3742253" indent="0">
              <a:buNone/>
              <a:defRPr sz="1871">
                <a:solidFill>
                  <a:schemeClr val="tx1">
                    <a:tint val="75000"/>
                  </a:schemeClr>
                </a:solidFill>
              </a:defRPr>
            </a:lvl8pPr>
            <a:lvl9pPr marL="4276860" indent="0">
              <a:buNone/>
              <a:defRPr sz="1871">
                <a:solidFill>
                  <a:schemeClr val="tx1">
                    <a:tint val="75000"/>
                  </a:schemeClr>
                </a:solidFill>
              </a:defRPr>
            </a:lvl9pPr>
          </a:lstStyle>
          <a:p>
            <a:pPr lvl="0"/>
            <a:r>
              <a:rPr lang="en-US" noProof="0"/>
              <a:t>Click to edit Master text styles</a:t>
            </a:r>
          </a:p>
        </p:txBody>
      </p:sp>
      <p:sp>
        <p:nvSpPr>
          <p:cNvPr id="7" name="Date Placeholder 7">
            <a:extLst>
              <a:ext uri="{FF2B5EF4-FFF2-40B4-BE49-F238E27FC236}">
                <a16:creationId xmlns:a16="http://schemas.microsoft.com/office/drawing/2014/main" id="{25D396C3-8E52-46B1-8AE0-76470C6F10BC}"/>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8" name="Footer Placeholder 8">
            <a:extLst>
              <a:ext uri="{FF2B5EF4-FFF2-40B4-BE49-F238E27FC236}">
                <a16:creationId xmlns:a16="http://schemas.microsoft.com/office/drawing/2014/main" id="{DD08C36C-A583-41A8-9C2A-71522C66BB3E}"/>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9" name="Slide Number Placeholder 9">
            <a:extLst>
              <a:ext uri="{FF2B5EF4-FFF2-40B4-BE49-F238E27FC236}">
                <a16:creationId xmlns:a16="http://schemas.microsoft.com/office/drawing/2014/main" id="{EFB51428-15F0-4F94-A324-10306BF049F8}"/>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949115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8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6"/>
            <a:ext cx="9277349" cy="4752975"/>
          </a:xfrm>
          <a:prstGeom prst="rect">
            <a:avLst/>
          </a:prstGeom>
        </p:spPr>
        <p:txBody>
          <a:bodyPr>
            <a:normAutofit/>
          </a:bodyPr>
          <a:lstStyle>
            <a:lvl1pPr>
              <a:spcBef>
                <a:spcPts val="4209"/>
              </a:spcBef>
              <a:defRPr sz="3266">
                <a:solidFill>
                  <a:schemeClr val="tx1"/>
                </a:solidFill>
              </a:defRPr>
            </a:lvl1pPr>
            <a:lvl2pPr marL="534608" indent="-534608">
              <a:defRPr sz="3508">
                <a:solidFill>
                  <a:schemeClr val="bg2"/>
                </a:solidFill>
              </a:defRPr>
            </a:lvl2pPr>
            <a:lvl3pPr>
              <a:defRPr sz="3508">
                <a:solidFill>
                  <a:schemeClr val="bg2"/>
                </a:solidFill>
              </a:defRPr>
            </a:lvl3pPr>
            <a:lvl4pPr>
              <a:defRPr sz="3508">
                <a:solidFill>
                  <a:schemeClr val="bg2"/>
                </a:solidFill>
              </a:defRPr>
            </a:lvl4pPr>
            <a:lvl5pPr>
              <a:defRPr sz="3508">
                <a:solidFill>
                  <a:schemeClr val="bg2"/>
                </a:solidFill>
              </a:defRPr>
            </a:lvl5pPr>
          </a:lstStyle>
          <a:p>
            <a:pPr lvl="0"/>
            <a:r>
              <a:rPr lang="en-US" noProof="0"/>
              <a:t>Click to edit Master text styles</a:t>
            </a:r>
          </a:p>
        </p:txBody>
      </p:sp>
      <p:sp>
        <p:nvSpPr>
          <p:cNvPr id="7" name="Date Placeholder 7">
            <a:extLst>
              <a:ext uri="{FF2B5EF4-FFF2-40B4-BE49-F238E27FC236}">
                <a16:creationId xmlns:a16="http://schemas.microsoft.com/office/drawing/2014/main" id="{89B43755-E2AA-4294-8D6C-0D72941FFD70}"/>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8" name="Footer Placeholder 8">
            <a:extLst>
              <a:ext uri="{FF2B5EF4-FFF2-40B4-BE49-F238E27FC236}">
                <a16:creationId xmlns:a16="http://schemas.microsoft.com/office/drawing/2014/main" id="{E98FE35F-A961-47AA-9433-EE84B82B89FE}"/>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9" name="Slide Number Placeholder 9">
            <a:extLst>
              <a:ext uri="{FF2B5EF4-FFF2-40B4-BE49-F238E27FC236}">
                <a16:creationId xmlns:a16="http://schemas.microsoft.com/office/drawing/2014/main" id="{CB3379E0-B07E-420A-A7C0-9388479070E4}"/>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2305190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7" y="405930"/>
            <a:ext cx="2804160" cy="1027760"/>
          </a:xfrm>
        </p:spPr>
        <p:txBody>
          <a:bodyPr>
            <a:normAutofit/>
          </a:bodyPr>
          <a:lstStyle>
            <a:lvl1pPr>
              <a:spcBef>
                <a:spcPts val="216"/>
              </a:spcBef>
              <a:defRPr sz="1089">
                <a:solidFill>
                  <a:schemeClr val="tx1"/>
                </a:solidFill>
              </a:defRPr>
            </a:lvl1pPr>
            <a:lvl2pPr>
              <a:defRPr sz="1133">
                <a:solidFill>
                  <a:schemeClr val="tx2"/>
                </a:solidFill>
              </a:defRPr>
            </a:lvl2pPr>
            <a:lvl3pPr>
              <a:defRPr sz="1133">
                <a:solidFill>
                  <a:schemeClr val="tx2"/>
                </a:solidFill>
              </a:defRPr>
            </a:lvl3pPr>
            <a:lvl4pPr>
              <a:defRPr sz="1079">
                <a:solidFill>
                  <a:schemeClr val="tx2"/>
                </a:solidFill>
              </a:defRPr>
            </a:lvl4pPr>
            <a:lvl5pPr>
              <a:defRPr sz="1079">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01649" y="1700215"/>
            <a:ext cx="2766255" cy="4656835"/>
          </a:xfrm>
        </p:spPr>
        <p:txBody>
          <a:bodyPr>
            <a:normAutofit/>
          </a:bodyPr>
          <a:lstStyle>
            <a:lvl1pPr>
              <a:spcBef>
                <a:spcPts val="0"/>
              </a:spcBef>
              <a:spcAft>
                <a:spcPts val="648"/>
              </a:spcAft>
              <a:defRPr sz="1089"/>
            </a:lvl1pPr>
            <a:lvl2pPr>
              <a:spcBef>
                <a:spcPts val="324"/>
              </a:spcBef>
              <a:defRPr/>
            </a:lvl2pPr>
            <a:lvl3pPr>
              <a:spcBef>
                <a:spcPts val="324"/>
              </a:spcBef>
              <a:defRPr/>
            </a:lvl3pPr>
            <a:lvl4pPr>
              <a:spcBef>
                <a:spcPts val="324"/>
              </a:spcBef>
              <a:defRPr/>
            </a:lvl4pPr>
            <a:lvl5pPr>
              <a:spcBef>
                <a:spcPts val="324"/>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normAutofit/>
          </a:bodyPr>
          <a:lstStyle>
            <a:lvl1pPr>
              <a:spcBef>
                <a:spcPts val="0"/>
              </a:spcBef>
              <a:spcAft>
                <a:spcPts val="1089"/>
              </a:spcAft>
              <a:defRPr sz="1089"/>
            </a:lvl1pPr>
            <a:lvl2pPr>
              <a:spcBef>
                <a:spcPts val="0"/>
              </a:spcBef>
              <a:spcAft>
                <a:spcPts val="1089"/>
              </a:spcAft>
              <a:defRPr sz="1089"/>
            </a:lvl2pPr>
            <a:lvl3pPr>
              <a:spcBef>
                <a:spcPts val="0"/>
              </a:spcBef>
              <a:spcAft>
                <a:spcPts val="1089"/>
              </a:spcAft>
              <a:defRPr sz="1089"/>
            </a:lvl3pPr>
            <a:lvl4pPr>
              <a:spcBef>
                <a:spcPts val="0"/>
              </a:spcBef>
              <a:spcAft>
                <a:spcPts val="1089"/>
              </a:spcAft>
              <a:defRPr sz="1089"/>
            </a:lvl4pPr>
            <a:lvl5pPr>
              <a:spcBef>
                <a:spcPts val="0"/>
              </a:spcBef>
              <a:spcAft>
                <a:spcPts val="1089"/>
              </a:spcAft>
              <a:defRPr sz="108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 15">
            <a:extLst>
              <a:ext uri="{FF2B5EF4-FFF2-40B4-BE49-F238E27FC236}">
                <a16:creationId xmlns:a16="http://schemas.microsoft.com/office/drawing/2014/main" id="{72BEB744-5149-417C-BD34-E606A7432724}"/>
              </a:ext>
            </a:extLst>
          </p:cNvPr>
          <p:cNvGrpSpPr>
            <a:grpSpLocks noChangeAspect="1"/>
          </p:cNvGrpSpPr>
          <p:nvPr/>
        </p:nvGrpSpPr>
        <p:grpSpPr>
          <a:xfrm>
            <a:off x="431028" y="342914"/>
            <a:ext cx="2293942" cy="346941"/>
            <a:chOff x="398463" y="404813"/>
            <a:chExt cx="1627187" cy="307976"/>
          </a:xfrm>
          <a:solidFill>
            <a:schemeClr val="tx1"/>
          </a:solidFill>
        </p:grpSpPr>
        <p:sp>
          <p:nvSpPr>
            <p:cNvPr id="17" name="Oval 5">
              <a:extLst>
                <a:ext uri="{FF2B5EF4-FFF2-40B4-BE49-F238E27FC236}">
                  <a16:creationId xmlns:a16="http://schemas.microsoft.com/office/drawing/2014/main" id="{8E059066-77C8-4F52-87EE-27DC3A5C59D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18" name="Freeform 6">
              <a:extLst>
                <a:ext uri="{FF2B5EF4-FFF2-40B4-BE49-F238E27FC236}">
                  <a16:creationId xmlns:a16="http://schemas.microsoft.com/office/drawing/2014/main" id="{0AE66270-8066-46EA-BB67-FD911F284AA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19" name="Rectangle 7">
              <a:extLst>
                <a:ext uri="{FF2B5EF4-FFF2-40B4-BE49-F238E27FC236}">
                  <a16:creationId xmlns:a16="http://schemas.microsoft.com/office/drawing/2014/main" id="{863FE964-DEE5-4A91-9BDC-3D851F67D77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1" name="Freeform 8">
              <a:extLst>
                <a:ext uri="{FF2B5EF4-FFF2-40B4-BE49-F238E27FC236}">
                  <a16:creationId xmlns:a16="http://schemas.microsoft.com/office/drawing/2014/main" id="{D379331D-0D61-47A2-B269-FBB652C6A0B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2" name="Rectangle 9">
              <a:extLst>
                <a:ext uri="{FF2B5EF4-FFF2-40B4-BE49-F238E27FC236}">
                  <a16:creationId xmlns:a16="http://schemas.microsoft.com/office/drawing/2014/main" id="{78E62A42-9DAE-4274-B918-3B076B708BF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3" name="Rectangle 10">
              <a:extLst>
                <a:ext uri="{FF2B5EF4-FFF2-40B4-BE49-F238E27FC236}">
                  <a16:creationId xmlns:a16="http://schemas.microsoft.com/office/drawing/2014/main" id="{B404A3E9-9E29-4ABC-AA21-378637C653C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4" name="Freeform 11">
              <a:extLst>
                <a:ext uri="{FF2B5EF4-FFF2-40B4-BE49-F238E27FC236}">
                  <a16:creationId xmlns:a16="http://schemas.microsoft.com/office/drawing/2014/main" id="{3711DE3C-E7AE-4B9E-8F76-549C58F552B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5" name="Freeform 12">
              <a:extLst>
                <a:ext uri="{FF2B5EF4-FFF2-40B4-BE49-F238E27FC236}">
                  <a16:creationId xmlns:a16="http://schemas.microsoft.com/office/drawing/2014/main" id="{8E205525-08D8-4A2D-AA9A-731AAA948A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6" name="Freeform 13">
              <a:extLst>
                <a:ext uri="{FF2B5EF4-FFF2-40B4-BE49-F238E27FC236}">
                  <a16:creationId xmlns:a16="http://schemas.microsoft.com/office/drawing/2014/main" id="{DD47C0C3-2523-4927-9D2D-1561AB52A1A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sp>
          <p:nvSpPr>
            <p:cNvPr id="37" name="Freeform 14">
              <a:extLst>
                <a:ext uri="{FF2B5EF4-FFF2-40B4-BE49-F238E27FC236}">
                  <a16:creationId xmlns:a16="http://schemas.microsoft.com/office/drawing/2014/main" id="{F5F5D726-C114-4AC4-B1B2-08ED48139B0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noProof="0" dirty="0">
                <a:solidFill>
                  <a:schemeClr val="bg1"/>
                </a:solidFill>
              </a:endParaRPr>
            </a:p>
          </p:txBody>
        </p:sp>
      </p:grpSp>
      <p:sp>
        <p:nvSpPr>
          <p:cNvPr id="23" name="Date Placeholder 7">
            <a:extLst>
              <a:ext uri="{FF2B5EF4-FFF2-40B4-BE49-F238E27FC236}">
                <a16:creationId xmlns:a16="http://schemas.microsoft.com/office/drawing/2014/main" id="{F31A6CCF-CE6B-4550-87D8-8CFD9B062DEB}"/>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24" name="Footer Placeholder 8">
            <a:extLst>
              <a:ext uri="{FF2B5EF4-FFF2-40B4-BE49-F238E27FC236}">
                <a16:creationId xmlns:a16="http://schemas.microsoft.com/office/drawing/2014/main" id="{5396BDF3-15E8-4984-B49C-BE940EADFAAE}"/>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25" name="Slide Number Placeholder 9">
            <a:extLst>
              <a:ext uri="{FF2B5EF4-FFF2-40B4-BE49-F238E27FC236}">
                <a16:creationId xmlns:a16="http://schemas.microsoft.com/office/drawing/2014/main" id="{0F0BCC92-97A7-4D6D-BA76-AD6CA47D0E6A}"/>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68987244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ext uri="{D42A27DB-BD31-4B8C-83A1-F6EECF244321}">
                <p14:modId xmlns:p14="http://schemas.microsoft.com/office/powerpoint/2010/main" val="479006593"/>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4" name="Object 3" hidden="1"/>
                      <p:cNvPicPr/>
                      <p:nvPr/>
                    </p:nvPicPr>
                    <p:blipFill>
                      <a:blip r:embed="rId40"/>
                      <a:stretch>
                        <a:fillRect/>
                      </a:stretch>
                    </p:blipFill>
                    <p:spPr>
                      <a:xfrm>
                        <a:off x="2118" y="1590"/>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2"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Date Placeholder 7">
            <a:extLst>
              <a:ext uri="{FF2B5EF4-FFF2-40B4-BE49-F238E27FC236}">
                <a16:creationId xmlns:a16="http://schemas.microsoft.com/office/drawing/2014/main" id="{6873F673-CCD8-4174-9958-C48EBAB3703A}"/>
              </a:ext>
            </a:extLst>
          </p:cNvPr>
          <p:cNvSpPr>
            <a:spLocks noGrp="1"/>
          </p:cNvSpPr>
          <p:nvPr>
            <p:ph type="dt" sz="half" idx="2"/>
          </p:nvPr>
        </p:nvSpPr>
        <p:spPr>
          <a:xfrm>
            <a:off x="6335184" y="6477985"/>
            <a:ext cx="4896560" cy="125644"/>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F943793B-9F92-43B3-976D-F47FB312BAB5}" type="datetimeFigureOut">
              <a:rPr lang="fr-FR" smtClean="0"/>
              <a:t>30/08/2022</a:t>
            </a:fld>
            <a:endParaRPr lang="fr-FR" dirty="0"/>
          </a:p>
        </p:txBody>
      </p:sp>
      <p:sp>
        <p:nvSpPr>
          <p:cNvPr id="9" name="Footer Placeholder 8">
            <a:extLst>
              <a:ext uri="{FF2B5EF4-FFF2-40B4-BE49-F238E27FC236}">
                <a16:creationId xmlns:a16="http://schemas.microsoft.com/office/drawing/2014/main" id="{931BFF00-B7A8-477C-8B70-815B9A5636C7}"/>
              </a:ext>
            </a:extLst>
          </p:cNvPr>
          <p:cNvSpPr>
            <a:spLocks noGrp="1"/>
          </p:cNvSpPr>
          <p:nvPr>
            <p:ph type="ftr" sz="quarter" idx="3"/>
          </p:nvPr>
        </p:nvSpPr>
        <p:spPr>
          <a:xfrm>
            <a:off x="501649" y="6477985"/>
            <a:ext cx="5355169" cy="125547"/>
          </a:xfrm>
          <a:prstGeom prst="rect">
            <a:avLst/>
          </a:prstGeom>
          <a:noFill/>
        </p:spPr>
        <p:txBody>
          <a:bodyPr wrap="square" lIns="0" tIns="0" rIns="0" bIns="0" rtlCol="0">
            <a:spAutoFit/>
          </a:bodyPr>
          <a:lstStyle>
            <a:lvl1pPr>
              <a:defRPr lang="fr-FR" sz="816">
                <a:latin typeface="Calibri" panose="020F0502020204030204" pitchFamily="34" charset="0"/>
                <a:cs typeface="Calibri" panose="020F0502020204030204" pitchFamily="34" charset="0"/>
              </a:defRPr>
            </a:lvl1pPr>
          </a:lstStyle>
          <a:p>
            <a:endParaRPr lang="fr-FR" dirty="0"/>
          </a:p>
        </p:txBody>
      </p:sp>
      <p:sp>
        <p:nvSpPr>
          <p:cNvPr id="10" name="Slide Number Placeholder 9">
            <a:extLst>
              <a:ext uri="{FF2B5EF4-FFF2-40B4-BE49-F238E27FC236}">
                <a16:creationId xmlns:a16="http://schemas.microsoft.com/office/drawing/2014/main" id="{52FCEA60-5AF3-4A1A-9D78-B7DB55C6E245}"/>
              </a:ext>
            </a:extLst>
          </p:cNvPr>
          <p:cNvSpPr>
            <a:spLocks noGrp="1"/>
          </p:cNvSpPr>
          <p:nvPr>
            <p:ph type="sldNum" sz="quarter" idx="4"/>
          </p:nvPr>
        </p:nvSpPr>
        <p:spPr>
          <a:xfrm>
            <a:off x="11382378" y="6477985"/>
            <a:ext cx="307974" cy="125547"/>
          </a:xfrm>
          <a:prstGeom prst="rect">
            <a:avLst/>
          </a:prstGeom>
          <a:noFill/>
        </p:spPr>
        <p:txBody>
          <a:bodyPr wrap="square" lIns="0" tIns="0" rIns="0" bIns="0" rtlCol="0">
            <a:spAutoFit/>
          </a:bodyPr>
          <a:lstStyle>
            <a:lvl1pPr algn="r">
              <a:defRPr lang="fr-FR" sz="816" smtClean="0">
                <a:latin typeface="Calibri" panose="020F0502020204030204" pitchFamily="34" charset="0"/>
                <a:cs typeface="Calibri" panose="020F0502020204030204" pitchFamily="34" charset="0"/>
              </a:defRPr>
            </a:lvl1pPr>
          </a:lstStyle>
          <a:p>
            <a:fld id="{DFF2F118-7979-4047-939B-5DFB70C3D7CE}" type="slidenum">
              <a:rPr lang="fr-FR" smtClean="0"/>
              <a:t>‹N°›</a:t>
            </a:fld>
            <a:endParaRPr lang="fr-FR" dirty="0"/>
          </a:p>
        </p:txBody>
      </p:sp>
    </p:spTree>
    <p:extLst>
      <p:ext uri="{BB962C8B-B14F-4D97-AF65-F5344CB8AC3E}">
        <p14:creationId xmlns:p14="http://schemas.microsoft.com/office/powerpoint/2010/main" val="195620486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 id="2147483733" r:id="rId36"/>
  </p:sldLayoutIdLst>
  <p:transition>
    <p:fade/>
  </p:transition>
  <p:txStyles>
    <p:titleStyle>
      <a:lvl1pPr algn="l" defTabSz="1069215" rtl="0" eaLnBrk="1" latinLnBrk="0" hangingPunct="1">
        <a:spcBef>
          <a:spcPct val="0"/>
        </a:spcBef>
        <a:buNone/>
        <a:defRPr sz="1996" b="0" kern="1200">
          <a:solidFill>
            <a:schemeClr val="tx1"/>
          </a:solidFill>
          <a:latin typeface="+mn-lt"/>
          <a:ea typeface="+mj-ea"/>
          <a:cs typeface="Calibri Light" panose="020F0302020204030204" pitchFamily="34" charset="0"/>
        </a:defRPr>
      </a:lvl1pPr>
    </p:titleStyle>
    <p:bodyStyle>
      <a:lvl1pPr marL="0" indent="0" algn="l" defTabSz="1069215" rtl="0" eaLnBrk="1" latinLnBrk="0" hangingPunct="1">
        <a:spcBef>
          <a:spcPts val="0"/>
        </a:spcBef>
        <a:spcAft>
          <a:spcPts val="1169"/>
        </a:spcAft>
        <a:buSzPct val="100000"/>
        <a:buFont typeface="Arial" panose="020B0604020202020204" pitchFamily="34" charset="0"/>
        <a:buNone/>
        <a:defRPr sz="1270" b="0" kern="1200">
          <a:solidFill>
            <a:schemeClr val="tx1"/>
          </a:solidFill>
          <a:latin typeface="+mn-lt"/>
          <a:ea typeface="+mn-ea"/>
          <a:cs typeface="Calibri Light" panose="020F0302020204030204" pitchFamily="34" charset="0"/>
        </a:defRPr>
      </a:lvl1pPr>
      <a:lvl2pPr marL="0" indent="0" algn="l" defTabSz="1069215" rtl="0" eaLnBrk="1" latinLnBrk="0" hangingPunct="1">
        <a:spcBef>
          <a:spcPts val="0"/>
        </a:spcBef>
        <a:spcAft>
          <a:spcPts val="1169"/>
        </a:spcAft>
        <a:buClrTx/>
        <a:buSzPct val="100000"/>
        <a:buFont typeface="Arial"/>
        <a:buNone/>
        <a:defRPr lang="en-US" sz="1270" b="1" kern="1200" dirty="0" smtClean="0">
          <a:solidFill>
            <a:schemeClr val="tx1"/>
          </a:solidFill>
          <a:latin typeface="+mj-lt"/>
          <a:ea typeface="+mn-ea"/>
          <a:cs typeface="Calibri Light" panose="020F0302020204030204" pitchFamily="34" charset="0"/>
        </a:defRPr>
      </a:lvl2pPr>
      <a:lvl3pPr marL="206266" indent="-206266" algn="l" defTabSz="1069215" rtl="0" eaLnBrk="1" latinLnBrk="0" hangingPunct="1">
        <a:spcBef>
          <a:spcPts val="0"/>
        </a:spcBef>
        <a:spcAft>
          <a:spcPts val="1169"/>
        </a:spcAft>
        <a:buClrTx/>
        <a:buSzPct val="100000"/>
        <a:buFont typeface="Arial" panose="020B0604020202020204" pitchFamily="34" charset="0"/>
        <a:buChar char="•"/>
        <a:defRPr lang="en-US" sz="1270" kern="1200" dirty="0" smtClean="0">
          <a:solidFill>
            <a:schemeClr val="tx1"/>
          </a:solidFill>
          <a:latin typeface="+mn-lt"/>
          <a:ea typeface="+mn-ea"/>
          <a:cs typeface="Calibri Light" panose="020F0302020204030204" pitchFamily="34" charset="0"/>
        </a:defRPr>
      </a:lvl3pPr>
      <a:lvl4pPr marL="416741" indent="-206266" algn="l" defTabSz="1069215" rtl="0" eaLnBrk="1" latinLnBrk="0" hangingPunct="1">
        <a:spcBef>
          <a:spcPts val="0"/>
        </a:spcBef>
        <a:spcAft>
          <a:spcPts val="1169"/>
        </a:spcAft>
        <a:buClrTx/>
        <a:buSzPct val="100000"/>
        <a:buFont typeface="Verdana" panose="020B0604030504040204" pitchFamily="34" charset="0"/>
        <a:buChar char="−"/>
        <a:defRPr lang="en-US" sz="1270" kern="1200" baseline="0" dirty="0" smtClean="0">
          <a:solidFill>
            <a:schemeClr val="tx1"/>
          </a:solidFill>
          <a:latin typeface="+mn-lt"/>
          <a:ea typeface="+mn-ea"/>
          <a:cs typeface="Calibri Light" panose="020F0302020204030204" pitchFamily="34" charset="0"/>
        </a:defRPr>
      </a:lvl4pPr>
      <a:lvl5pPr marL="623007" indent="-206266" algn="l" defTabSz="933707" rtl="0" eaLnBrk="1" latinLnBrk="0" hangingPunct="1">
        <a:spcBef>
          <a:spcPts val="0"/>
        </a:spcBef>
        <a:spcAft>
          <a:spcPts val="1169"/>
        </a:spcAft>
        <a:buClrTx/>
        <a:buSzPct val="100000"/>
        <a:buFont typeface="Verdana" panose="020B0604030504040204" pitchFamily="34" charset="0"/>
        <a:buChar char="−"/>
        <a:tabLst/>
        <a:defRPr lang="en-US" sz="1270" kern="1200" baseline="0" dirty="0" smtClean="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p:bodyStyle>
    <p:otherStyle>
      <a:defPPr>
        <a:defRPr lang="en-US"/>
      </a:defPPr>
      <a:lvl1pPr marL="0" algn="l" defTabSz="1069215" rtl="0" eaLnBrk="1" latinLnBrk="0" hangingPunct="1">
        <a:defRPr sz="2105" kern="1200">
          <a:solidFill>
            <a:schemeClr val="tx1"/>
          </a:solidFill>
          <a:latin typeface="+mn-lt"/>
          <a:ea typeface="+mn-ea"/>
          <a:cs typeface="+mn-cs"/>
        </a:defRPr>
      </a:lvl1pPr>
      <a:lvl2pPr marL="534608" algn="l" defTabSz="1069215" rtl="0" eaLnBrk="1" latinLnBrk="0" hangingPunct="1">
        <a:defRPr sz="2105" kern="1200">
          <a:solidFill>
            <a:schemeClr val="tx1"/>
          </a:solidFill>
          <a:latin typeface="+mn-lt"/>
          <a:ea typeface="+mn-ea"/>
          <a:cs typeface="+mn-cs"/>
        </a:defRPr>
      </a:lvl2pPr>
      <a:lvl3pPr marL="1069215" algn="l" defTabSz="1069215" rtl="0" eaLnBrk="1" latinLnBrk="0" hangingPunct="1">
        <a:defRPr sz="2105" kern="1200">
          <a:solidFill>
            <a:schemeClr val="tx1"/>
          </a:solidFill>
          <a:latin typeface="+mn-lt"/>
          <a:ea typeface="+mn-ea"/>
          <a:cs typeface="+mn-cs"/>
        </a:defRPr>
      </a:lvl3pPr>
      <a:lvl4pPr marL="1603823" algn="l" defTabSz="1069215" rtl="0" eaLnBrk="1" latinLnBrk="0" hangingPunct="1">
        <a:defRPr sz="2105" kern="1200">
          <a:solidFill>
            <a:schemeClr val="tx1"/>
          </a:solidFill>
          <a:latin typeface="+mn-lt"/>
          <a:ea typeface="+mn-ea"/>
          <a:cs typeface="+mn-cs"/>
        </a:defRPr>
      </a:lvl4pPr>
      <a:lvl5pPr marL="2138430" algn="l" defTabSz="1069215" rtl="0" eaLnBrk="1" latinLnBrk="0" hangingPunct="1">
        <a:defRPr sz="2105" kern="1200">
          <a:solidFill>
            <a:schemeClr val="tx1"/>
          </a:solidFill>
          <a:latin typeface="+mn-lt"/>
          <a:ea typeface="+mn-ea"/>
          <a:cs typeface="+mn-cs"/>
        </a:defRPr>
      </a:lvl5pPr>
      <a:lvl6pPr marL="2673038" algn="l" defTabSz="1069215" rtl="0" eaLnBrk="1" latinLnBrk="0" hangingPunct="1">
        <a:defRPr sz="2105" kern="1200">
          <a:solidFill>
            <a:schemeClr val="tx1"/>
          </a:solidFill>
          <a:latin typeface="+mn-lt"/>
          <a:ea typeface="+mn-ea"/>
          <a:cs typeface="+mn-cs"/>
        </a:defRPr>
      </a:lvl6pPr>
      <a:lvl7pPr marL="3207645" algn="l" defTabSz="1069215" rtl="0" eaLnBrk="1" latinLnBrk="0" hangingPunct="1">
        <a:defRPr sz="2105" kern="1200">
          <a:solidFill>
            <a:schemeClr val="tx1"/>
          </a:solidFill>
          <a:latin typeface="+mn-lt"/>
          <a:ea typeface="+mn-ea"/>
          <a:cs typeface="+mn-cs"/>
        </a:defRPr>
      </a:lvl7pPr>
      <a:lvl8pPr marL="3742253" algn="l" defTabSz="1069215" rtl="0" eaLnBrk="1" latinLnBrk="0" hangingPunct="1">
        <a:defRPr sz="2105" kern="1200">
          <a:solidFill>
            <a:schemeClr val="tx1"/>
          </a:solidFill>
          <a:latin typeface="+mn-lt"/>
          <a:ea typeface="+mn-ea"/>
          <a:cs typeface="+mn-cs"/>
        </a:defRPr>
      </a:lvl8pPr>
      <a:lvl9pPr marL="4276860" algn="l" defTabSz="1069215" rtl="0" eaLnBrk="1" latinLnBrk="0" hangingPunct="1">
        <a:defRPr sz="2105" kern="1200">
          <a:solidFill>
            <a:schemeClr val="tx1"/>
          </a:solidFill>
          <a:latin typeface="+mn-lt"/>
          <a:ea typeface="+mn-ea"/>
          <a:cs typeface="+mn-cs"/>
        </a:defRPr>
      </a:lvl9pPr>
    </p:otherStyle>
  </p:txStyles>
  <p:extLst>
    <p:ext uri="{27BBF7A9-308A-43DC-89C8-2F10F3537804}">
      <p15:sldGuideLst xmlns:p15="http://schemas.microsoft.com/office/powerpoint/2012/main">
        <p15:guide id="23" pos="4483">
          <p15:clr>
            <a:srgbClr val="F26B43"/>
          </p15:clr>
        </p15:guide>
        <p15:guide id="24" orient="horz" pos="2381">
          <p15:clr>
            <a:srgbClr val="F26B43"/>
          </p15:clr>
        </p15:guide>
        <p15:guide id="25" orient="horz" pos="4431">
          <p15:clr>
            <a:srgbClr val="F26B43"/>
          </p15:clr>
        </p15:guide>
        <p15:guide id="26" pos="277">
          <p15:clr>
            <a:srgbClr val="F26B43"/>
          </p15:clr>
        </p15:guide>
        <p15:guide id="27" pos="6458">
          <p15:clr>
            <a:srgbClr val="F26B43"/>
          </p15:clr>
        </p15:guide>
        <p15:guide id="28" orient="horz" pos="1181">
          <p15:clr>
            <a:srgbClr val="F26B43"/>
          </p15:clr>
        </p15:guide>
        <p15:guide id="29" orient="horz" pos="220">
          <p15:clr>
            <a:srgbClr val="F26B43"/>
          </p15:clr>
        </p15:guide>
        <p15:guide id="30" orient="horz" pos="4497">
          <p15:clr>
            <a:srgbClr val="F26B43"/>
          </p15:clr>
        </p15:guide>
        <p15:guide id="31" pos="4351">
          <p15:clr>
            <a:srgbClr val="F26B43"/>
          </p15:clr>
        </p15:guide>
        <p15:guide id="32" orient="horz" pos="260">
          <p15:clr>
            <a:srgbClr val="F26B43"/>
          </p15:clr>
        </p15:guide>
        <p15:guide id="33" pos="1195">
          <p15:clr>
            <a:srgbClr val="F26B43"/>
          </p15:clr>
        </p15:guide>
        <p15:guide id="34" pos="1329">
          <p15:clr>
            <a:srgbClr val="F26B43"/>
          </p15:clr>
        </p15:guide>
        <p15:guide id="35" pos="2245">
          <p15:clr>
            <a:srgbClr val="F26B43"/>
          </p15:clr>
        </p15:guide>
        <p15:guide id="36" pos="2377">
          <p15:clr>
            <a:srgbClr val="F26B43"/>
          </p15:clr>
        </p15:guide>
        <p15:guide id="37" pos="5402">
          <p15:clr>
            <a:srgbClr val="F26B43"/>
          </p15:clr>
        </p15:guide>
        <p15:guide id="38" pos="3301">
          <p15:clr>
            <a:srgbClr val="F26B43"/>
          </p15:clr>
        </p15:guide>
        <p15:guide id="39" pos="3434">
          <p15:clr>
            <a:srgbClr val="F26B43"/>
          </p15:clr>
        </p15:guide>
        <p15:guide id="40" pos="3368">
          <p15:clr>
            <a:srgbClr val="F26B43"/>
          </p15:clr>
        </p15:guide>
        <p15:guide id="41" pos="5535">
          <p15:clr>
            <a:srgbClr val="F26B43"/>
          </p15:clr>
        </p15:guide>
        <p15:guide id="42" orient="horz" pos="1156">
          <p15:clr>
            <a:srgbClr val="F26B43"/>
          </p15:clr>
        </p15:guide>
        <p15:guide id="43" orient="horz" pos="70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6.xml"/><Relationship Id="rId6" Type="http://schemas.openxmlformats.org/officeDocument/2006/relationships/image" Target="../media/image9.png"/><Relationship Id="rId5" Type="http://schemas.openxmlformats.org/officeDocument/2006/relationships/image" Target="../media/image17.png"/><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Layout" Target="../slideLayouts/slideLayout36.xml"/><Relationship Id="rId6" Type="http://schemas.openxmlformats.org/officeDocument/2006/relationships/image" Target="../media/image9.png"/><Relationship Id="rId5" Type="http://schemas.microsoft.com/office/2007/relationships/hdphoto" Target="../media/hdphoto1.wdp"/><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6.xml"/><Relationship Id="rId6" Type="http://schemas.openxmlformats.org/officeDocument/2006/relationships/image" Target="../media/image12.png"/><Relationship Id="rId5" Type="http://schemas.openxmlformats.org/officeDocument/2006/relationships/image" Target="../media/image20.pn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9.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Layout" Target="../slideLayouts/slideLayout36.xml"/><Relationship Id="rId6" Type="http://schemas.openxmlformats.org/officeDocument/2006/relationships/image" Target="../media/image27.png"/><Relationship Id="rId11" Type="http://schemas.openxmlformats.org/officeDocument/2006/relationships/image" Target="../media/image9.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36.xml"/><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6.xml"/><Relationship Id="rId1" Type="http://schemas.openxmlformats.org/officeDocument/2006/relationships/tags" Target="../tags/tag2.xml"/><Relationship Id="rId5" Type="http://schemas.openxmlformats.org/officeDocument/2006/relationships/image" Target="../media/image9.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5.png"/><Relationship Id="rId1" Type="http://schemas.openxmlformats.org/officeDocument/2006/relationships/slideLayout" Target="../slideLayouts/slideLayout36.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3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4871D8-1AC5-41F0-818C-68374AF81A9B}"/>
              </a:ext>
            </a:extLst>
          </p:cNvPr>
          <p:cNvSpPr/>
          <p:nvPr/>
        </p:nvSpPr>
        <p:spPr bwMode="gray">
          <a:xfrm>
            <a:off x="11687175" y="0"/>
            <a:ext cx="504825"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5" name="Rectangle 4">
            <a:extLst>
              <a:ext uri="{FF2B5EF4-FFF2-40B4-BE49-F238E27FC236}">
                <a16:creationId xmlns:a16="http://schemas.microsoft.com/office/drawing/2014/main" id="{C35BAB8A-6514-4835-91B9-0F4884A90120}"/>
              </a:ext>
            </a:extLst>
          </p:cNvPr>
          <p:cNvSpPr/>
          <p:nvPr/>
        </p:nvSpPr>
        <p:spPr bwMode="gray">
          <a:xfrm>
            <a:off x="11182350" y="0"/>
            <a:ext cx="504825" cy="685800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6" name="Rectangle 5">
            <a:extLst>
              <a:ext uri="{FF2B5EF4-FFF2-40B4-BE49-F238E27FC236}">
                <a16:creationId xmlns:a16="http://schemas.microsoft.com/office/drawing/2014/main" id="{DD6F2691-E0E7-4FE9-840D-7EC1CA0613B4}"/>
              </a:ext>
            </a:extLst>
          </p:cNvPr>
          <p:cNvSpPr/>
          <p:nvPr/>
        </p:nvSpPr>
        <p:spPr bwMode="gray">
          <a:xfrm>
            <a:off x="10677525" y="0"/>
            <a:ext cx="504825"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7" name="Title">
            <a:extLst>
              <a:ext uri="{FF2B5EF4-FFF2-40B4-BE49-F238E27FC236}">
                <a16:creationId xmlns:a16="http://schemas.microsoft.com/office/drawing/2014/main" id="{8AF5F2BF-846C-47B4-8E5D-391DF2D66889}"/>
              </a:ext>
            </a:extLst>
          </p:cNvPr>
          <p:cNvSpPr>
            <a:spLocks noGrp="1"/>
          </p:cNvSpPr>
          <p:nvPr/>
        </p:nvSpPr>
        <p:spPr bwMode="gray">
          <a:xfrm>
            <a:off x="1318435" y="1539260"/>
            <a:ext cx="9106678" cy="3265130"/>
          </a:xfrm>
          <a:prstGeom prst="rect">
            <a:avLst/>
          </a:prstGeom>
        </p:spPr>
        <p:txBody>
          <a:bodyPr vert="horz" wrap="square" lIns="0" tIns="0" rIns="0" bIns="0" rtlCol="0" anchor="t" anchorCtr="0">
            <a:noAutofit/>
          </a:bodyPr>
          <a:lstStyle>
            <a:lvl1pPr algn="l" defTabSz="1088558" rtl="0" eaLnBrk="1" latinLnBrk="0" hangingPunct="1">
              <a:lnSpc>
                <a:spcPct val="90000"/>
              </a:lnSpc>
              <a:spcBef>
                <a:spcPct val="0"/>
              </a:spcBef>
              <a:buNone/>
              <a:defRPr sz="3600" b="1" kern="1200" baseline="0">
                <a:solidFill>
                  <a:schemeClr val="tx1"/>
                </a:solidFill>
                <a:latin typeface="+mj-lt"/>
                <a:ea typeface="+mj-ea"/>
                <a:cs typeface="+mj-cs"/>
              </a:defRPr>
            </a:lvl1pPr>
          </a:lstStyle>
          <a:p>
            <a:r>
              <a:rPr lang="fr-FR" dirty="0">
                <a:solidFill>
                  <a:schemeClr val="accent1"/>
                </a:solidFill>
              </a:rPr>
              <a:t>Soutenance – Projet de Fin d’Etudes</a:t>
            </a:r>
            <a:br>
              <a:rPr lang="fr-FR" dirty="0">
                <a:solidFill>
                  <a:schemeClr val="accent1"/>
                </a:solidFill>
              </a:rPr>
            </a:br>
            <a:br>
              <a:rPr lang="fr-FR" dirty="0">
                <a:solidFill>
                  <a:schemeClr val="accent1"/>
                </a:solidFill>
              </a:rPr>
            </a:br>
            <a:r>
              <a:rPr lang="fr-FR" sz="3200" dirty="0"/>
              <a:t>Définition d’un modèle de Gouvernance Active Directory et évaluation de sa maturité</a:t>
            </a:r>
            <a:br>
              <a:rPr lang="fr-FR" sz="3200" dirty="0"/>
            </a:br>
            <a:br>
              <a:rPr lang="fr-FR" sz="3200" dirty="0"/>
            </a:br>
            <a:r>
              <a:rPr lang="fr-FR" sz="3200" b="0" dirty="0"/>
              <a:t>Gaëtan ROUSSEL</a:t>
            </a:r>
            <a:br>
              <a:rPr lang="fr-FR" sz="3200" b="0" dirty="0"/>
            </a:br>
            <a:r>
              <a:rPr lang="fr-FR" sz="1800" b="0" dirty="0"/>
              <a:t>30 Juin 2022</a:t>
            </a:r>
            <a:endParaRPr lang="fr-FR" sz="3200" b="0" dirty="0"/>
          </a:p>
        </p:txBody>
      </p:sp>
      <p:pic>
        <p:nvPicPr>
          <p:cNvPr id="8" name="Picture 2" descr="Eléments graphiques | INSA Lyon">
            <a:extLst>
              <a:ext uri="{FF2B5EF4-FFF2-40B4-BE49-F238E27FC236}">
                <a16:creationId xmlns:a16="http://schemas.microsoft.com/office/drawing/2014/main" id="{280C82A3-02FE-4093-9163-8EB8CB3B6E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1047" y="5749287"/>
            <a:ext cx="2146010" cy="61753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Deloitte Consulting LLP - Partner - Boomi">
            <a:extLst>
              <a:ext uri="{FF2B5EF4-FFF2-40B4-BE49-F238E27FC236}">
                <a16:creationId xmlns:a16="http://schemas.microsoft.com/office/drawing/2014/main" id="{7D5A965D-DFD6-4496-9BE6-F39616BD08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6355" y="5678799"/>
            <a:ext cx="1944895" cy="7585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90058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Arc 41">
            <a:extLst>
              <a:ext uri="{FF2B5EF4-FFF2-40B4-BE49-F238E27FC236}">
                <a16:creationId xmlns:a16="http://schemas.microsoft.com/office/drawing/2014/main" id="{168F89DE-374F-41BE-80D6-E1258235AC1D}"/>
              </a:ext>
            </a:extLst>
          </p:cNvPr>
          <p:cNvSpPr/>
          <p:nvPr/>
        </p:nvSpPr>
        <p:spPr>
          <a:xfrm rot="5074366">
            <a:off x="6211004" y="1586767"/>
            <a:ext cx="1767774" cy="1774354"/>
          </a:xfrm>
          <a:prstGeom prst="arc">
            <a:avLst>
              <a:gd name="adj1" fmla="val 17745980"/>
              <a:gd name="adj2" fmla="val 4121998"/>
            </a:avLst>
          </a:prstGeom>
          <a:solidFill>
            <a:sysClr val="window" lastClr="FFFFFF"/>
          </a:solidFill>
          <a:ln w="19050" cap="flat" cmpd="sng" algn="ctr">
            <a:solidFill>
              <a:srgbClr val="007680"/>
            </a:solidFill>
            <a:prstDash val="solid"/>
            <a:miter lim="800000"/>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mj-lt"/>
              <a:ea typeface="Open Sans" panose="020B0606030504020204" pitchFamily="34" charset="0"/>
              <a:cs typeface="Open Sans" panose="020B0606030504020204" pitchFamily="34" charset="0"/>
            </a:endParaRPr>
          </a:p>
        </p:txBody>
      </p:sp>
      <p:sp>
        <p:nvSpPr>
          <p:cNvPr id="41" name="Arc 40">
            <a:extLst>
              <a:ext uri="{FF2B5EF4-FFF2-40B4-BE49-F238E27FC236}">
                <a16:creationId xmlns:a16="http://schemas.microsoft.com/office/drawing/2014/main" id="{8E80990E-99CD-4757-B051-0EDCB90D3F4D}"/>
              </a:ext>
            </a:extLst>
          </p:cNvPr>
          <p:cNvSpPr/>
          <p:nvPr/>
        </p:nvSpPr>
        <p:spPr>
          <a:xfrm rot="5074366">
            <a:off x="6211004" y="1586767"/>
            <a:ext cx="1767774" cy="1774354"/>
          </a:xfrm>
          <a:prstGeom prst="arc">
            <a:avLst>
              <a:gd name="adj1" fmla="val 7056037"/>
              <a:gd name="adj2" fmla="val 14055003"/>
            </a:avLst>
          </a:prstGeom>
          <a:solidFill>
            <a:sysClr val="window" lastClr="FFFFFF"/>
          </a:solidFill>
          <a:ln w="19050" cap="flat" cmpd="sng" algn="ctr">
            <a:solidFill>
              <a:srgbClr val="007680"/>
            </a:solidFill>
            <a:prstDash val="solid"/>
            <a:miter lim="800000"/>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mj-lt"/>
              <a:ea typeface="Open Sans" panose="020B0606030504020204" pitchFamily="34" charset="0"/>
              <a:cs typeface="Open Sans" panose="020B0606030504020204" pitchFamily="34" charset="0"/>
            </a:endParaRPr>
          </a:p>
        </p:txBody>
      </p:sp>
      <p:sp>
        <p:nvSpPr>
          <p:cNvPr id="43" name="Oval 42">
            <a:extLst>
              <a:ext uri="{FF2B5EF4-FFF2-40B4-BE49-F238E27FC236}">
                <a16:creationId xmlns:a16="http://schemas.microsoft.com/office/drawing/2014/main" id="{E716A2C6-4B80-4570-B96F-EBF926BE5B58}"/>
              </a:ext>
            </a:extLst>
          </p:cNvPr>
          <p:cNvSpPr/>
          <p:nvPr/>
        </p:nvSpPr>
        <p:spPr bwMode="gray">
          <a:xfrm>
            <a:off x="6369464" y="1751208"/>
            <a:ext cx="1450853" cy="1445473"/>
          </a:xfrm>
          <a:prstGeom prst="ellipse">
            <a:avLst/>
          </a:prstGeom>
          <a:solidFill>
            <a:schemeClr val="bg1"/>
          </a:solidFill>
          <a:ln w="19050" algn="ctr">
            <a:solidFill>
              <a:srgbClr val="00768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mj-lt"/>
              <a:ea typeface="Open Sans" panose="020B0606030504020204" pitchFamily="34" charset="0"/>
              <a:cs typeface="Open Sans" panose="020B0606030504020204" pitchFamily="34" charset="0"/>
            </a:endParaRPr>
          </a:p>
        </p:txBody>
      </p:sp>
      <p:grpSp>
        <p:nvGrpSpPr>
          <p:cNvPr id="73" name="Group 72">
            <a:extLst>
              <a:ext uri="{FF2B5EF4-FFF2-40B4-BE49-F238E27FC236}">
                <a16:creationId xmlns:a16="http://schemas.microsoft.com/office/drawing/2014/main" id="{7A446B54-46B1-401A-B6E2-E3115704F88D}"/>
              </a:ext>
            </a:extLst>
          </p:cNvPr>
          <p:cNvGrpSpPr>
            <a:grpSpLocks noChangeAspect="1"/>
          </p:cNvGrpSpPr>
          <p:nvPr/>
        </p:nvGrpSpPr>
        <p:grpSpPr>
          <a:xfrm>
            <a:off x="6822699" y="2292648"/>
            <a:ext cx="513893" cy="458273"/>
            <a:chOff x="11387138" y="6542088"/>
            <a:chExt cx="484188" cy="433388"/>
          </a:xfrm>
          <a:solidFill>
            <a:srgbClr val="007680"/>
          </a:solidFill>
        </p:grpSpPr>
        <p:sp>
          <p:nvSpPr>
            <p:cNvPr id="74" name="Freeform 601">
              <a:extLst>
                <a:ext uri="{FF2B5EF4-FFF2-40B4-BE49-F238E27FC236}">
                  <a16:creationId xmlns:a16="http://schemas.microsoft.com/office/drawing/2014/main" id="{8E5F1988-B45A-41A9-8799-0486760DD16E}"/>
                </a:ext>
              </a:extLst>
            </p:cNvPr>
            <p:cNvSpPr>
              <a:spLocks noEditPoints="1"/>
            </p:cNvSpPr>
            <p:nvPr/>
          </p:nvSpPr>
          <p:spPr bwMode="auto">
            <a:xfrm>
              <a:off x="11387138" y="6542088"/>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8 w 53"/>
                <a:gd name="T25" fmla="*/ 48 h 50"/>
                <a:gd name="T26" fmla="*/ 26 w 53"/>
                <a:gd name="T27" fmla="*/ 42 h 50"/>
                <a:gd name="T28" fmla="*/ 35 w 53"/>
                <a:gd name="T29" fmla="*/ 48 h 50"/>
                <a:gd name="T30" fmla="*/ 39 w 53"/>
                <a:gd name="T31" fmla="*/ 49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6"/>
                    <a:pt x="11" y="48"/>
                  </a:cubicBezTo>
                  <a:cubicBezTo>
                    <a:pt x="13" y="50"/>
                    <a:pt x="16" y="50"/>
                    <a:pt x="18" y="48"/>
                  </a:cubicBezTo>
                  <a:cubicBezTo>
                    <a:pt x="26" y="42"/>
                    <a:pt x="26" y="42"/>
                    <a:pt x="26" y="42"/>
                  </a:cubicBezTo>
                  <a:cubicBezTo>
                    <a:pt x="35" y="48"/>
                    <a:pt x="35" y="48"/>
                    <a:pt x="35" y="48"/>
                  </a:cubicBezTo>
                  <a:cubicBezTo>
                    <a:pt x="36" y="49"/>
                    <a:pt x="37" y="49"/>
                    <a:pt x="39" y="49"/>
                  </a:cubicBezTo>
                  <a:cubicBezTo>
                    <a:pt x="40" y="49"/>
                    <a:pt x="41" y="49"/>
                    <a:pt x="42" y="48"/>
                  </a:cubicBezTo>
                  <a:cubicBezTo>
                    <a:pt x="44" y="46"/>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3"/>
                    <a:pt x="25" y="22"/>
                    <a:pt x="25" y="20"/>
                  </a:cubicBezTo>
                  <a:cubicBezTo>
                    <a:pt x="26" y="17"/>
                    <a:pt x="26" y="17"/>
                    <a:pt x="26" y="17"/>
                  </a:cubicBezTo>
                  <a:cubicBezTo>
                    <a:pt x="28" y="20"/>
                    <a:pt x="28" y="20"/>
                    <a:pt x="28" y="20"/>
                  </a:cubicBezTo>
                  <a:cubicBezTo>
                    <a:pt x="28" y="22"/>
                    <a:pt x="30" y="23"/>
                    <a:pt x="32" y="24"/>
                  </a:cubicBezTo>
                  <a:cubicBezTo>
                    <a:pt x="36" y="24"/>
                    <a:pt x="36" y="24"/>
                    <a:pt x="36" y="24"/>
                  </a:cubicBezTo>
                  <a:lnTo>
                    <a:pt x="33" y="26"/>
                  </a:lnTo>
                  <a:close/>
                </a:path>
              </a:pathLst>
            </a:custGeom>
            <a:grpFill/>
            <a:ln w="12700">
              <a:solidFill>
                <a:srgbClr val="00768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75" name="Freeform 602">
              <a:extLst>
                <a:ext uri="{FF2B5EF4-FFF2-40B4-BE49-F238E27FC236}">
                  <a16:creationId xmlns:a16="http://schemas.microsoft.com/office/drawing/2014/main" id="{95A22FC4-FA3F-4A78-BC13-631A4DF4ECF3}"/>
                </a:ext>
              </a:extLst>
            </p:cNvPr>
            <p:cNvSpPr>
              <a:spLocks noEditPoints="1"/>
            </p:cNvSpPr>
            <p:nvPr/>
          </p:nvSpPr>
          <p:spPr bwMode="auto">
            <a:xfrm>
              <a:off x="11387138" y="6699251"/>
              <a:ext cx="120650" cy="112713"/>
            </a:xfrm>
            <a:custGeom>
              <a:avLst/>
              <a:gdLst>
                <a:gd name="T0" fmla="*/ 46 w 53"/>
                <a:gd name="T1" fmla="*/ 14 h 49"/>
                <a:gd name="T2" fmla="*/ 36 w 53"/>
                <a:gd name="T3" fmla="*/ 13 h 49"/>
                <a:gd name="T4" fmla="*/ 32 w 53"/>
                <a:gd name="T5" fmla="*/ 4 h 49"/>
                <a:gd name="T6" fmla="*/ 26 w 53"/>
                <a:gd name="T7" fmla="*/ 0 h 49"/>
                <a:gd name="T8" fmla="*/ 21 w 53"/>
                <a:gd name="T9" fmla="*/ 4 h 49"/>
                <a:gd name="T10" fmla="*/ 17 w 53"/>
                <a:gd name="T11" fmla="*/ 13 h 49"/>
                <a:gd name="T12" fmla="*/ 7 w 53"/>
                <a:gd name="T13" fmla="*/ 14 h 49"/>
                <a:gd name="T14" fmla="*/ 1 w 53"/>
                <a:gd name="T15" fmla="*/ 18 h 49"/>
                <a:gd name="T16" fmla="*/ 3 w 53"/>
                <a:gd name="T17" fmla="*/ 25 h 49"/>
                <a:gd name="T18" fmla="*/ 11 w 53"/>
                <a:gd name="T19" fmla="*/ 31 h 49"/>
                <a:gd name="T20" fmla="*/ 8 w 53"/>
                <a:gd name="T21" fmla="*/ 41 h 49"/>
                <a:gd name="T22" fmla="*/ 11 w 53"/>
                <a:gd name="T23" fmla="*/ 48 h 49"/>
                <a:gd name="T24" fmla="*/ 18 w 53"/>
                <a:gd name="T25" fmla="*/ 48 h 49"/>
                <a:gd name="T26" fmla="*/ 26 w 53"/>
                <a:gd name="T27" fmla="*/ 42 h 49"/>
                <a:gd name="T28" fmla="*/ 35 w 53"/>
                <a:gd name="T29" fmla="*/ 48 h 49"/>
                <a:gd name="T30" fmla="*/ 39 w 53"/>
                <a:gd name="T31" fmla="*/ 49 h 49"/>
                <a:gd name="T32" fmla="*/ 42 w 53"/>
                <a:gd name="T33" fmla="*/ 48 h 49"/>
                <a:gd name="T34" fmla="*/ 44 w 53"/>
                <a:gd name="T35" fmla="*/ 41 h 49"/>
                <a:gd name="T36" fmla="*/ 41 w 53"/>
                <a:gd name="T37" fmla="*/ 31 h 49"/>
                <a:gd name="T38" fmla="*/ 50 w 53"/>
                <a:gd name="T39" fmla="*/ 25 h 49"/>
                <a:gd name="T40" fmla="*/ 52 w 53"/>
                <a:gd name="T41" fmla="*/ 18 h 49"/>
                <a:gd name="T42" fmla="*/ 46 w 53"/>
                <a:gd name="T43" fmla="*/ 14 h 49"/>
                <a:gd name="T44" fmla="*/ 33 w 53"/>
                <a:gd name="T45" fmla="*/ 25 h 49"/>
                <a:gd name="T46" fmla="*/ 31 w 53"/>
                <a:gd name="T47" fmla="*/ 31 h 49"/>
                <a:gd name="T48" fmla="*/ 32 w 53"/>
                <a:gd name="T49" fmla="*/ 34 h 49"/>
                <a:gd name="T50" fmla="*/ 29 w 53"/>
                <a:gd name="T51" fmla="*/ 32 h 49"/>
                <a:gd name="T52" fmla="*/ 24 w 53"/>
                <a:gd name="T53" fmla="*/ 32 h 49"/>
                <a:gd name="T54" fmla="*/ 21 w 53"/>
                <a:gd name="T55" fmla="*/ 34 h 49"/>
                <a:gd name="T56" fmla="*/ 22 w 53"/>
                <a:gd name="T57" fmla="*/ 31 h 49"/>
                <a:gd name="T58" fmla="*/ 20 w 53"/>
                <a:gd name="T59" fmla="*/ 25 h 49"/>
                <a:gd name="T60" fmla="*/ 17 w 53"/>
                <a:gd name="T61" fmla="*/ 23 h 49"/>
                <a:gd name="T62" fmla="*/ 21 w 53"/>
                <a:gd name="T63" fmla="*/ 23 h 49"/>
                <a:gd name="T64" fmla="*/ 25 w 53"/>
                <a:gd name="T65" fmla="*/ 20 h 49"/>
                <a:gd name="T66" fmla="*/ 26 w 53"/>
                <a:gd name="T67" fmla="*/ 17 h 49"/>
                <a:gd name="T68" fmla="*/ 28 w 53"/>
                <a:gd name="T69" fmla="*/ 20 h 49"/>
                <a:gd name="T70" fmla="*/ 32 w 53"/>
                <a:gd name="T71" fmla="*/ 23 h 49"/>
                <a:gd name="T72" fmla="*/ 36 w 53"/>
                <a:gd name="T73" fmla="*/ 23 h 49"/>
                <a:gd name="T74" fmla="*/ 33 w 53"/>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9">
                  <a:moveTo>
                    <a:pt x="46" y="14"/>
                  </a:moveTo>
                  <a:cubicBezTo>
                    <a:pt x="36" y="13"/>
                    <a:pt x="36" y="13"/>
                    <a:pt x="36" y="13"/>
                  </a:cubicBezTo>
                  <a:cubicBezTo>
                    <a:pt x="32" y="4"/>
                    <a:pt x="32" y="4"/>
                    <a:pt x="32" y="4"/>
                  </a:cubicBezTo>
                  <a:cubicBezTo>
                    <a:pt x="31" y="1"/>
                    <a:pt x="29" y="0"/>
                    <a:pt x="26" y="0"/>
                  </a:cubicBezTo>
                  <a:cubicBezTo>
                    <a:pt x="24" y="0"/>
                    <a:pt x="21" y="1"/>
                    <a:pt x="21" y="4"/>
                  </a:cubicBezTo>
                  <a:cubicBezTo>
                    <a:pt x="17" y="13"/>
                    <a:pt x="17" y="13"/>
                    <a:pt x="17" y="13"/>
                  </a:cubicBezTo>
                  <a:cubicBezTo>
                    <a:pt x="7" y="14"/>
                    <a:pt x="7" y="14"/>
                    <a:pt x="7" y="14"/>
                  </a:cubicBezTo>
                  <a:cubicBezTo>
                    <a:pt x="4" y="14"/>
                    <a:pt x="2" y="15"/>
                    <a:pt x="1" y="18"/>
                  </a:cubicBezTo>
                  <a:cubicBezTo>
                    <a:pt x="0" y="20"/>
                    <a:pt x="1" y="23"/>
                    <a:pt x="3" y="25"/>
                  </a:cubicBezTo>
                  <a:cubicBezTo>
                    <a:pt x="11" y="31"/>
                    <a:pt x="11" y="31"/>
                    <a:pt x="11" y="31"/>
                  </a:cubicBezTo>
                  <a:cubicBezTo>
                    <a:pt x="8" y="41"/>
                    <a:pt x="8" y="41"/>
                    <a:pt x="8" y="41"/>
                  </a:cubicBezTo>
                  <a:cubicBezTo>
                    <a:pt x="8" y="43"/>
                    <a:pt x="8" y="46"/>
                    <a:pt x="11" y="48"/>
                  </a:cubicBezTo>
                  <a:cubicBezTo>
                    <a:pt x="13" y="49"/>
                    <a:pt x="16" y="49"/>
                    <a:pt x="18" y="48"/>
                  </a:cubicBezTo>
                  <a:cubicBezTo>
                    <a:pt x="26" y="42"/>
                    <a:pt x="26" y="42"/>
                    <a:pt x="26" y="42"/>
                  </a:cubicBezTo>
                  <a:cubicBezTo>
                    <a:pt x="35" y="48"/>
                    <a:pt x="35" y="48"/>
                    <a:pt x="35" y="48"/>
                  </a:cubicBezTo>
                  <a:cubicBezTo>
                    <a:pt x="36" y="48"/>
                    <a:pt x="37" y="49"/>
                    <a:pt x="39" y="49"/>
                  </a:cubicBezTo>
                  <a:cubicBezTo>
                    <a:pt x="40" y="49"/>
                    <a:pt x="41" y="48"/>
                    <a:pt x="42" y="48"/>
                  </a:cubicBezTo>
                  <a:cubicBezTo>
                    <a:pt x="44" y="46"/>
                    <a:pt x="45" y="43"/>
                    <a:pt x="44" y="41"/>
                  </a:cubicBezTo>
                  <a:cubicBezTo>
                    <a:pt x="41" y="31"/>
                    <a:pt x="41" y="31"/>
                    <a:pt x="41" y="31"/>
                  </a:cubicBezTo>
                  <a:cubicBezTo>
                    <a:pt x="50" y="25"/>
                    <a:pt x="50" y="25"/>
                    <a:pt x="50" y="25"/>
                  </a:cubicBezTo>
                  <a:cubicBezTo>
                    <a:pt x="52" y="23"/>
                    <a:pt x="53" y="20"/>
                    <a:pt x="52" y="18"/>
                  </a:cubicBezTo>
                  <a:cubicBezTo>
                    <a:pt x="51" y="15"/>
                    <a:pt x="49" y="14"/>
                    <a:pt x="46" y="14"/>
                  </a:cubicBezTo>
                  <a:close/>
                  <a:moveTo>
                    <a:pt x="33" y="25"/>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5"/>
                  </a:cubicBezTo>
                  <a:cubicBezTo>
                    <a:pt x="17" y="23"/>
                    <a:pt x="17" y="23"/>
                    <a:pt x="17" y="23"/>
                  </a:cubicBezTo>
                  <a:cubicBezTo>
                    <a:pt x="21" y="23"/>
                    <a:pt x="21" y="23"/>
                    <a:pt x="21" y="23"/>
                  </a:cubicBezTo>
                  <a:cubicBezTo>
                    <a:pt x="23" y="23"/>
                    <a:pt x="25" y="22"/>
                    <a:pt x="25" y="20"/>
                  </a:cubicBezTo>
                  <a:cubicBezTo>
                    <a:pt x="26" y="17"/>
                    <a:pt x="26" y="17"/>
                    <a:pt x="26" y="17"/>
                  </a:cubicBezTo>
                  <a:cubicBezTo>
                    <a:pt x="28" y="20"/>
                    <a:pt x="28" y="20"/>
                    <a:pt x="28" y="20"/>
                  </a:cubicBezTo>
                  <a:cubicBezTo>
                    <a:pt x="28" y="22"/>
                    <a:pt x="30" y="23"/>
                    <a:pt x="32" y="23"/>
                  </a:cubicBezTo>
                  <a:cubicBezTo>
                    <a:pt x="36" y="23"/>
                    <a:pt x="36" y="23"/>
                    <a:pt x="36" y="23"/>
                  </a:cubicBezTo>
                  <a:lnTo>
                    <a:pt x="33" y="25"/>
                  </a:lnTo>
                  <a:close/>
                </a:path>
              </a:pathLst>
            </a:custGeom>
            <a:grpFill/>
            <a:ln w="12700">
              <a:solidFill>
                <a:srgbClr val="00768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76" name="Freeform 603">
              <a:extLst>
                <a:ext uri="{FF2B5EF4-FFF2-40B4-BE49-F238E27FC236}">
                  <a16:creationId xmlns:a16="http://schemas.microsoft.com/office/drawing/2014/main" id="{9759E2EB-6F6E-48BC-AE48-06BB525A2F9C}"/>
                </a:ext>
              </a:extLst>
            </p:cNvPr>
            <p:cNvSpPr>
              <a:spLocks noEditPoints="1"/>
            </p:cNvSpPr>
            <p:nvPr/>
          </p:nvSpPr>
          <p:spPr bwMode="auto">
            <a:xfrm>
              <a:off x="11387138" y="6861176"/>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4 w 53"/>
                <a:gd name="T25" fmla="*/ 49 h 50"/>
                <a:gd name="T26" fmla="*/ 18 w 53"/>
                <a:gd name="T27" fmla="*/ 48 h 50"/>
                <a:gd name="T28" fmla="*/ 26 w 53"/>
                <a:gd name="T29" fmla="*/ 42 h 50"/>
                <a:gd name="T30" fmla="*/ 35 w 53"/>
                <a:gd name="T31" fmla="*/ 48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7"/>
                    <a:pt x="11" y="48"/>
                  </a:cubicBezTo>
                  <a:cubicBezTo>
                    <a:pt x="12" y="49"/>
                    <a:pt x="13" y="49"/>
                    <a:pt x="14" y="49"/>
                  </a:cubicBezTo>
                  <a:cubicBezTo>
                    <a:pt x="15" y="49"/>
                    <a:pt x="17" y="49"/>
                    <a:pt x="18" y="48"/>
                  </a:cubicBezTo>
                  <a:cubicBezTo>
                    <a:pt x="26" y="42"/>
                    <a:pt x="26" y="42"/>
                    <a:pt x="26" y="42"/>
                  </a:cubicBezTo>
                  <a:cubicBezTo>
                    <a:pt x="35" y="48"/>
                    <a:pt x="35" y="48"/>
                    <a:pt x="35" y="48"/>
                  </a:cubicBezTo>
                  <a:cubicBezTo>
                    <a:pt x="37" y="50"/>
                    <a:pt x="40" y="50"/>
                    <a:pt x="42" y="48"/>
                  </a:cubicBezTo>
                  <a:cubicBezTo>
                    <a:pt x="44" y="47"/>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7"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4"/>
                    <a:pt x="25" y="22"/>
                    <a:pt x="25" y="20"/>
                  </a:cubicBezTo>
                  <a:cubicBezTo>
                    <a:pt x="26" y="17"/>
                    <a:pt x="26" y="17"/>
                    <a:pt x="26" y="17"/>
                  </a:cubicBezTo>
                  <a:cubicBezTo>
                    <a:pt x="28" y="20"/>
                    <a:pt x="28" y="20"/>
                    <a:pt x="28" y="20"/>
                  </a:cubicBezTo>
                  <a:cubicBezTo>
                    <a:pt x="28" y="22"/>
                    <a:pt x="30" y="24"/>
                    <a:pt x="32" y="24"/>
                  </a:cubicBezTo>
                  <a:cubicBezTo>
                    <a:pt x="36" y="24"/>
                    <a:pt x="36" y="24"/>
                    <a:pt x="36" y="24"/>
                  </a:cubicBezTo>
                  <a:lnTo>
                    <a:pt x="33" y="26"/>
                  </a:lnTo>
                  <a:close/>
                </a:path>
              </a:pathLst>
            </a:custGeom>
            <a:grpFill/>
            <a:ln w="12700">
              <a:solidFill>
                <a:srgbClr val="00768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77" name="Freeform 604">
              <a:extLst>
                <a:ext uri="{FF2B5EF4-FFF2-40B4-BE49-F238E27FC236}">
                  <a16:creationId xmlns:a16="http://schemas.microsoft.com/office/drawing/2014/main" id="{54E12759-F566-460E-AAC9-7E729D99B48C}"/>
                </a:ext>
              </a:extLst>
            </p:cNvPr>
            <p:cNvSpPr>
              <a:spLocks/>
            </p:cNvSpPr>
            <p:nvPr/>
          </p:nvSpPr>
          <p:spPr bwMode="auto">
            <a:xfrm>
              <a:off x="11549063" y="6907213"/>
              <a:ext cx="322263" cy="23813"/>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w="12700">
              <a:solidFill>
                <a:srgbClr val="00768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78" name="Freeform 605">
              <a:extLst>
                <a:ext uri="{FF2B5EF4-FFF2-40B4-BE49-F238E27FC236}">
                  <a16:creationId xmlns:a16="http://schemas.microsoft.com/office/drawing/2014/main" id="{6D248273-ECB6-4127-8AF4-6E6C4F7F4132}"/>
                </a:ext>
              </a:extLst>
            </p:cNvPr>
            <p:cNvSpPr>
              <a:spLocks/>
            </p:cNvSpPr>
            <p:nvPr/>
          </p:nvSpPr>
          <p:spPr bwMode="auto">
            <a:xfrm>
              <a:off x="11549063" y="6748463"/>
              <a:ext cx="322263" cy="22225"/>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w="12700">
              <a:solidFill>
                <a:srgbClr val="00768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79" name="Freeform 606">
              <a:extLst>
                <a:ext uri="{FF2B5EF4-FFF2-40B4-BE49-F238E27FC236}">
                  <a16:creationId xmlns:a16="http://schemas.microsoft.com/office/drawing/2014/main" id="{F32E1F59-EA8C-44B2-BCB6-FA64F27B26A3}"/>
                </a:ext>
              </a:extLst>
            </p:cNvPr>
            <p:cNvSpPr>
              <a:spLocks/>
            </p:cNvSpPr>
            <p:nvPr/>
          </p:nvSpPr>
          <p:spPr bwMode="auto">
            <a:xfrm>
              <a:off x="11549063" y="6588126"/>
              <a:ext cx="322263" cy="20638"/>
            </a:xfrm>
            <a:custGeom>
              <a:avLst/>
              <a:gdLst>
                <a:gd name="T0" fmla="*/ 5 w 141"/>
                <a:gd name="T1" fmla="*/ 9 h 9"/>
                <a:gd name="T2" fmla="*/ 136 w 141"/>
                <a:gd name="T3" fmla="*/ 9 h 9"/>
                <a:gd name="T4" fmla="*/ 141 w 141"/>
                <a:gd name="T5" fmla="*/ 5 h 9"/>
                <a:gd name="T6" fmla="*/ 136 w 141"/>
                <a:gd name="T7" fmla="*/ 0 h 9"/>
                <a:gd name="T8" fmla="*/ 5 w 141"/>
                <a:gd name="T9" fmla="*/ 0 h 9"/>
                <a:gd name="T10" fmla="*/ 0 w 141"/>
                <a:gd name="T11" fmla="*/ 5 h 9"/>
                <a:gd name="T12" fmla="*/ 5 w 14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1" h="9">
                  <a:moveTo>
                    <a:pt x="5" y="9"/>
                  </a:moveTo>
                  <a:cubicBezTo>
                    <a:pt x="136" y="9"/>
                    <a:pt x="136" y="9"/>
                    <a:pt x="136" y="9"/>
                  </a:cubicBezTo>
                  <a:cubicBezTo>
                    <a:pt x="139" y="9"/>
                    <a:pt x="141" y="7"/>
                    <a:pt x="141" y="5"/>
                  </a:cubicBezTo>
                  <a:cubicBezTo>
                    <a:pt x="141" y="2"/>
                    <a:pt x="139" y="0"/>
                    <a:pt x="136" y="0"/>
                  </a:cubicBezTo>
                  <a:cubicBezTo>
                    <a:pt x="5" y="0"/>
                    <a:pt x="5" y="0"/>
                    <a:pt x="5" y="0"/>
                  </a:cubicBezTo>
                  <a:cubicBezTo>
                    <a:pt x="2" y="0"/>
                    <a:pt x="0" y="2"/>
                    <a:pt x="0" y="5"/>
                  </a:cubicBezTo>
                  <a:cubicBezTo>
                    <a:pt x="0" y="7"/>
                    <a:pt x="2" y="9"/>
                    <a:pt x="5" y="9"/>
                  </a:cubicBezTo>
                  <a:close/>
                </a:path>
              </a:pathLst>
            </a:custGeom>
            <a:grpFill/>
            <a:ln w="12700">
              <a:solidFill>
                <a:srgbClr val="00768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grpSp>
      <p:sp>
        <p:nvSpPr>
          <p:cNvPr id="2" name="Title 1">
            <a:extLst>
              <a:ext uri="{FF2B5EF4-FFF2-40B4-BE49-F238E27FC236}">
                <a16:creationId xmlns:a16="http://schemas.microsoft.com/office/drawing/2014/main" id="{CB5A1A39-FEA5-45F0-8A95-1A2DE8823E7B}"/>
              </a:ext>
            </a:extLst>
          </p:cNvPr>
          <p:cNvSpPr>
            <a:spLocks noGrp="1"/>
          </p:cNvSpPr>
          <p:nvPr>
            <p:ph type="title"/>
          </p:nvPr>
        </p:nvSpPr>
        <p:spPr>
          <a:xfrm>
            <a:off x="2381250" y="343190"/>
            <a:ext cx="6743700" cy="309820"/>
          </a:xfrm>
        </p:spPr>
        <p:txBody>
          <a:bodyPr/>
          <a:lstStyle/>
          <a:p>
            <a:r>
              <a:rPr lang="fr-FR" sz="2800" b="1" dirty="0">
                <a:solidFill>
                  <a:schemeClr val="accent1"/>
                </a:solidFill>
              </a:rPr>
              <a:t>Méthodologie</a:t>
            </a:r>
          </a:p>
        </p:txBody>
      </p:sp>
      <p:sp>
        <p:nvSpPr>
          <p:cNvPr id="5" name="Rectangle 4">
            <a:extLst>
              <a:ext uri="{FF2B5EF4-FFF2-40B4-BE49-F238E27FC236}">
                <a16:creationId xmlns:a16="http://schemas.microsoft.com/office/drawing/2014/main" id="{81E10ACE-8204-433C-A47C-CE8C4C39D474}"/>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7" name="Picture 4" descr="Deloitte Consulting LLP - Partner - Boomi">
            <a:extLst>
              <a:ext uri="{FF2B5EF4-FFF2-40B4-BE49-F238E27FC236}">
                <a16:creationId xmlns:a16="http://schemas.microsoft.com/office/drawing/2014/main" id="{981A2C2E-67FB-4095-850E-3C58285190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sp>
        <p:nvSpPr>
          <p:cNvPr id="30" name="AutoShape 3">
            <a:extLst>
              <a:ext uri="{FF2B5EF4-FFF2-40B4-BE49-F238E27FC236}">
                <a16:creationId xmlns:a16="http://schemas.microsoft.com/office/drawing/2014/main" id="{DA4460F7-0D07-432E-8823-8EFFB7985608}"/>
              </a:ext>
            </a:extLst>
          </p:cNvPr>
          <p:cNvSpPr>
            <a:spLocks noChangeArrowheads="1"/>
          </p:cNvSpPr>
          <p:nvPr/>
        </p:nvSpPr>
        <p:spPr bwMode="gray">
          <a:xfrm>
            <a:off x="2381250" y="2083563"/>
            <a:ext cx="1774097" cy="453422"/>
          </a:xfrm>
          <a:prstGeom prst="chevron">
            <a:avLst>
              <a:gd name="adj" fmla="val 34952"/>
            </a:avLst>
          </a:prstGeom>
          <a:solidFill>
            <a:schemeClr val="bg1"/>
          </a:solidFill>
          <a:ln w="19050" cap="rnd" algn="ctr">
            <a:solidFill>
              <a:schemeClr val="bg2"/>
            </a:solidFill>
            <a:miter lim="800000"/>
            <a:headEnd/>
            <a:tailEnd/>
          </a:ln>
        </p:spPr>
        <p:txBody>
          <a:bodyPr lIns="88900" tIns="88900" rIns="88900" bIns="88900" anchor="ctr" anchorCtr="0"/>
          <a:lstStyle/>
          <a:p>
            <a:pPr algn="ctr">
              <a:lnSpc>
                <a:spcPct val="106000"/>
              </a:lnSpc>
              <a:buClrTx/>
              <a:buFontTx/>
              <a:buNone/>
              <a:defRPr/>
            </a:pPr>
            <a:r>
              <a:rPr lang="en-US" sz="1600" kern="1200" dirty="0">
                <a:solidFill>
                  <a:schemeClr val="bg2"/>
                </a:solidFill>
                <a:latin typeface="+mj-lt"/>
                <a:ea typeface="Open Sans" panose="020B0606030504020204" pitchFamily="34" charset="0"/>
                <a:cs typeface="Open Sans" panose="020B0606030504020204" pitchFamily="34" charset="0"/>
              </a:rPr>
              <a:t>Entrée</a:t>
            </a:r>
          </a:p>
        </p:txBody>
      </p:sp>
      <p:sp>
        <p:nvSpPr>
          <p:cNvPr id="31" name="AutoShape 3">
            <a:extLst>
              <a:ext uri="{FF2B5EF4-FFF2-40B4-BE49-F238E27FC236}">
                <a16:creationId xmlns:a16="http://schemas.microsoft.com/office/drawing/2014/main" id="{18474B37-5488-4FCD-A71B-D870A79465D3}"/>
              </a:ext>
            </a:extLst>
          </p:cNvPr>
          <p:cNvSpPr>
            <a:spLocks noChangeArrowheads="1"/>
          </p:cNvSpPr>
          <p:nvPr/>
        </p:nvSpPr>
        <p:spPr bwMode="gray">
          <a:xfrm>
            <a:off x="9958040" y="2077521"/>
            <a:ext cx="1770848" cy="453422"/>
          </a:xfrm>
          <a:prstGeom prst="chevron">
            <a:avLst>
              <a:gd name="adj" fmla="val 34952"/>
            </a:avLst>
          </a:prstGeom>
          <a:solidFill>
            <a:schemeClr val="bg1"/>
          </a:solidFill>
          <a:ln w="19050" cap="rnd" algn="ctr">
            <a:solidFill>
              <a:srgbClr val="046A38"/>
            </a:solidFill>
            <a:miter lim="800000"/>
            <a:headEnd/>
            <a:tailEnd/>
          </a:ln>
        </p:spPr>
        <p:txBody>
          <a:bodyPr lIns="88900" tIns="88900" rIns="88900" bIns="88900" anchor="ctr" anchorCtr="0"/>
          <a:lstStyle/>
          <a:p>
            <a:pPr algn="ctr">
              <a:lnSpc>
                <a:spcPct val="106000"/>
              </a:lnSpc>
              <a:buClrTx/>
              <a:buFontTx/>
              <a:buNone/>
              <a:defRPr/>
            </a:pPr>
            <a:r>
              <a:rPr lang="en-US" sz="1600" kern="1200" dirty="0">
                <a:solidFill>
                  <a:srgbClr val="046A38"/>
                </a:solidFill>
                <a:latin typeface="+mj-lt"/>
                <a:ea typeface="Open Sans" panose="020B0606030504020204" pitchFamily="34" charset="0"/>
                <a:cs typeface="Open Sans" panose="020B0606030504020204" pitchFamily="34" charset="0"/>
              </a:rPr>
              <a:t>Sortie</a:t>
            </a:r>
          </a:p>
        </p:txBody>
      </p:sp>
      <p:sp>
        <p:nvSpPr>
          <p:cNvPr id="34" name="TextBox 33">
            <a:extLst>
              <a:ext uri="{FF2B5EF4-FFF2-40B4-BE49-F238E27FC236}">
                <a16:creationId xmlns:a16="http://schemas.microsoft.com/office/drawing/2014/main" id="{BFC4FBCB-51FF-4AC3-BF7F-B180F45A8996}"/>
              </a:ext>
            </a:extLst>
          </p:cNvPr>
          <p:cNvSpPr txBox="1"/>
          <p:nvPr/>
        </p:nvSpPr>
        <p:spPr>
          <a:xfrm>
            <a:off x="10546901" y="2919412"/>
            <a:ext cx="1592784" cy="553998"/>
          </a:xfrm>
          <a:prstGeom prst="rect">
            <a:avLst/>
          </a:prstGeom>
          <a:noFill/>
        </p:spPr>
        <p:txBody>
          <a:bodyPr wrap="square" lIns="0" tIns="0" rIns="0" bIns="0" rtlCol="0">
            <a:spAutoFit/>
          </a:bodyPr>
          <a:lstStyle/>
          <a:p>
            <a:pPr>
              <a:spcBef>
                <a:spcPts val="600"/>
              </a:spcBef>
              <a:buClrTx/>
              <a:buFontTx/>
              <a:buNone/>
            </a:pPr>
            <a:r>
              <a:rPr lang="fr-FR" sz="1200" kern="1200" dirty="0">
                <a:solidFill>
                  <a:prstClr val="black"/>
                </a:solidFill>
                <a:latin typeface="+mj-lt"/>
                <a:ea typeface="Open Sans" panose="020B0606030504020204" pitchFamily="34" charset="0"/>
                <a:cs typeface="Open Sans" panose="020B0606030504020204" pitchFamily="34" charset="0"/>
              </a:rPr>
              <a:t>Observations de l'évaluation de la gouvernance</a:t>
            </a:r>
            <a:endParaRPr lang="en-US" sz="1200" kern="1200" dirty="0">
              <a:solidFill>
                <a:prstClr val="black"/>
              </a:solidFill>
              <a:latin typeface="+mj-lt"/>
              <a:ea typeface="Open Sans" panose="020B0606030504020204" pitchFamily="34" charset="0"/>
              <a:cs typeface="Open Sans" panose="020B0606030504020204" pitchFamily="34" charset="0"/>
            </a:endParaRPr>
          </a:p>
        </p:txBody>
      </p:sp>
      <p:sp>
        <p:nvSpPr>
          <p:cNvPr id="35" name="TextBox 34">
            <a:extLst>
              <a:ext uri="{FF2B5EF4-FFF2-40B4-BE49-F238E27FC236}">
                <a16:creationId xmlns:a16="http://schemas.microsoft.com/office/drawing/2014/main" id="{F4D0B410-957B-428D-8BED-91B949AA9B29}"/>
              </a:ext>
            </a:extLst>
          </p:cNvPr>
          <p:cNvSpPr txBox="1"/>
          <p:nvPr/>
        </p:nvSpPr>
        <p:spPr>
          <a:xfrm>
            <a:off x="2357365" y="2914262"/>
            <a:ext cx="2195773" cy="949234"/>
          </a:xfrm>
          <a:prstGeom prst="rect">
            <a:avLst/>
          </a:prstGeom>
          <a:noFill/>
        </p:spPr>
        <p:txBody>
          <a:bodyPr wrap="square" lIns="0" tIns="0" rIns="0" bIns="0" rtlCol="0">
            <a:spAutoFit/>
          </a:bodyPr>
          <a:lstStyle/>
          <a:p>
            <a:pPr>
              <a:lnSpc>
                <a:spcPct val="106000"/>
              </a:lnSpc>
              <a:buClrTx/>
              <a:buFontTx/>
              <a:buNone/>
            </a:pPr>
            <a:r>
              <a:rPr lang="en-US" sz="1200" b="1" spc="-4" dirty="0">
                <a:solidFill>
                  <a:prstClr val="black"/>
                </a:solidFill>
                <a:latin typeface="+mj-lt"/>
                <a:ea typeface="Open Sans" panose="020B0606030504020204" pitchFamily="34" charset="0"/>
                <a:cs typeface="Open Sans" panose="020B0606030504020204" pitchFamily="34" charset="0"/>
              </a:rPr>
              <a:t>Interactions</a:t>
            </a:r>
          </a:p>
          <a:p>
            <a:pPr>
              <a:lnSpc>
                <a:spcPct val="106000"/>
              </a:lnSpc>
              <a:buClrTx/>
              <a:buFontTx/>
              <a:buNone/>
            </a:pPr>
            <a:endParaRPr lang="en-US" sz="1200" kern="1200" dirty="0">
              <a:solidFill>
                <a:prstClr val="black"/>
              </a:solidFill>
              <a:latin typeface="+mj-lt"/>
              <a:ea typeface="Open Sans" panose="020B0606030504020204" pitchFamily="34" charset="0"/>
              <a:cs typeface="Open Sans" panose="020B0606030504020204" pitchFamily="34" charset="0"/>
            </a:endParaRPr>
          </a:p>
          <a:p>
            <a:pPr>
              <a:lnSpc>
                <a:spcPct val="106000"/>
              </a:lnSpc>
              <a:buClrTx/>
              <a:buFontTx/>
              <a:buNone/>
            </a:pPr>
            <a:r>
              <a:rPr lang="en-US" sz="1200" b="1" kern="1200" dirty="0">
                <a:solidFill>
                  <a:prstClr val="black"/>
                </a:solidFill>
                <a:latin typeface="+mj-lt"/>
                <a:ea typeface="Open Sans" panose="020B0606030504020204" pitchFamily="34" charset="0"/>
                <a:cs typeface="Open Sans" panose="020B0606030504020204" pitchFamily="34" charset="0"/>
              </a:rPr>
              <a:t>Revue</a:t>
            </a:r>
          </a:p>
          <a:p>
            <a:pPr>
              <a:lnSpc>
                <a:spcPct val="106000"/>
              </a:lnSpc>
              <a:buClrTx/>
              <a:buFontTx/>
              <a:buNone/>
            </a:pPr>
            <a:endParaRPr lang="en-US" sz="1200" kern="1200" dirty="0">
              <a:solidFill>
                <a:prstClr val="black"/>
              </a:solidFill>
              <a:latin typeface="+mj-lt"/>
              <a:ea typeface="Open Sans" panose="020B0606030504020204" pitchFamily="34" charset="0"/>
              <a:cs typeface="Open Sans" panose="020B0606030504020204" pitchFamily="34" charset="0"/>
            </a:endParaRPr>
          </a:p>
          <a:p>
            <a:pPr defTabSz="622300">
              <a:lnSpc>
                <a:spcPct val="90000"/>
              </a:lnSpc>
              <a:spcBef>
                <a:spcPct val="0"/>
              </a:spcBef>
              <a:spcAft>
                <a:spcPct val="35000"/>
              </a:spcAft>
              <a:buClrTx/>
              <a:buFontTx/>
              <a:buNone/>
            </a:pPr>
            <a:r>
              <a:rPr lang="en-US" sz="1200" b="1" spc="-11" dirty="0">
                <a:solidFill>
                  <a:prstClr val="black"/>
                </a:solidFill>
                <a:latin typeface="+mj-lt"/>
                <a:ea typeface="Open Sans" panose="020B0606030504020204" pitchFamily="34" charset="0"/>
                <a:cs typeface="Open Sans" panose="020B0606030504020204" pitchFamily="34" charset="0"/>
              </a:rPr>
              <a:t>Industry inputs</a:t>
            </a:r>
            <a:endParaRPr lang="en-US" sz="1200" spc="-11" dirty="0">
              <a:solidFill>
                <a:prstClr val="black"/>
              </a:solidFill>
              <a:latin typeface="+mj-lt"/>
              <a:ea typeface="Open Sans" panose="020B0606030504020204" pitchFamily="34" charset="0"/>
              <a:cs typeface="Open Sans" panose="020B0606030504020204" pitchFamily="34" charset="0"/>
            </a:endParaRPr>
          </a:p>
        </p:txBody>
      </p:sp>
      <p:sp>
        <p:nvSpPr>
          <p:cNvPr id="36" name="TextBox 35">
            <a:extLst>
              <a:ext uri="{FF2B5EF4-FFF2-40B4-BE49-F238E27FC236}">
                <a16:creationId xmlns:a16="http://schemas.microsoft.com/office/drawing/2014/main" id="{0D375DF9-4888-4E47-89A1-5DFBA75DE5D7}"/>
              </a:ext>
            </a:extLst>
          </p:cNvPr>
          <p:cNvSpPr txBox="1"/>
          <p:nvPr/>
        </p:nvSpPr>
        <p:spPr>
          <a:xfrm>
            <a:off x="6434882" y="4365439"/>
            <a:ext cx="1470921" cy="1554272"/>
          </a:xfrm>
          <a:prstGeom prst="rect">
            <a:avLst/>
          </a:prstGeom>
          <a:noFill/>
          <a:ln w="12700">
            <a:no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fr-FR" sz="1200" b="1" i="0" u="none" strike="noStrike" kern="1200" cap="none" spc="0" normalizeH="0" baseline="0" dirty="0">
                <a:ln>
                  <a:noFill/>
                </a:ln>
                <a:solidFill>
                  <a:srgbClr val="007680"/>
                </a:solidFill>
                <a:effectLst/>
                <a:uLnTx/>
                <a:uFillTx/>
                <a:latin typeface="+mj-lt"/>
                <a:ea typeface="Open Sans" panose="020B0606030504020204" pitchFamily="34" charset="0"/>
                <a:cs typeface="Open Sans" panose="020B0606030504020204" pitchFamily="34" charset="0"/>
              </a:rPr>
              <a:t>Evaluer</a:t>
            </a:r>
            <a:r>
              <a:rPr kumimoji="0" lang="en-US" sz="1200" b="1" i="0" u="none" strike="noStrike" kern="1200" cap="none" spc="0" normalizeH="0" baseline="0" noProof="0" dirty="0">
                <a:ln>
                  <a:noFill/>
                </a:ln>
                <a:solidFill>
                  <a:srgbClr val="007680"/>
                </a:solidFill>
                <a:effectLst/>
                <a:uLnTx/>
                <a:uFillTx/>
                <a:latin typeface="+mj-lt"/>
                <a:ea typeface="Open Sans" panose="020B0606030504020204" pitchFamily="34" charset="0"/>
                <a:cs typeface="Open Sans" panose="020B0606030504020204" pitchFamily="34" charset="0"/>
              </a:rPr>
              <a:t> </a:t>
            </a:r>
          </a:p>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fr-FR" sz="1200" b="0" i="0" u="none" strike="noStrike" kern="1200" cap="none" spc="0" normalizeH="0" baseline="0" noProof="0" dirty="0">
                <a:ln>
                  <a:noFill/>
                </a:ln>
                <a:solidFill>
                  <a:prstClr val="black"/>
                </a:solidFill>
                <a:effectLst/>
                <a:uLnTx/>
                <a:uFillTx/>
                <a:latin typeface="+mj-lt"/>
                <a:ea typeface="Open Sans" panose="020B0606030504020204" pitchFamily="34" charset="0"/>
                <a:cs typeface="Open Sans" panose="020B0606030504020204" pitchFamily="34" charset="0"/>
              </a:rPr>
              <a:t>Recueillir des informations sur l'état actuel de l’AD par le biais d'entretiens avec les parties prenantes et la documentation existante.</a:t>
            </a:r>
            <a:endParaRPr kumimoji="0" lang="en-US" sz="1200" b="0" i="0" u="none" strike="noStrike" kern="1200" cap="none" spc="0" normalizeH="0" baseline="0" noProof="0" dirty="0">
              <a:ln>
                <a:noFill/>
              </a:ln>
              <a:solidFill>
                <a:srgbClr val="313131"/>
              </a:solidFill>
              <a:effectLst/>
              <a:uLnTx/>
              <a:uFillTx/>
              <a:latin typeface="+mj-lt"/>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461E58FB-A63C-4B52-AD7D-04F735303A3F}"/>
              </a:ext>
            </a:extLst>
          </p:cNvPr>
          <p:cNvSpPr txBox="1"/>
          <p:nvPr/>
        </p:nvSpPr>
        <p:spPr>
          <a:xfrm>
            <a:off x="4520303" y="4365439"/>
            <a:ext cx="1759642" cy="1738938"/>
          </a:xfrm>
          <a:prstGeom prst="rect">
            <a:avLst/>
          </a:prstGeom>
          <a:noFill/>
          <a:ln w="12700">
            <a:no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GB" sz="1200" b="1" i="0" u="none" strike="noStrike" kern="1200" cap="none" spc="0" normalizeH="0" baseline="0" dirty="0">
                <a:ln>
                  <a:noFill/>
                </a:ln>
                <a:solidFill>
                  <a:srgbClr val="53565A"/>
                </a:solidFill>
                <a:effectLst/>
                <a:uLnTx/>
                <a:uFillTx/>
                <a:latin typeface="+mj-lt"/>
                <a:ea typeface="Open Sans" panose="020B0606030504020204" pitchFamily="34" charset="0"/>
                <a:cs typeface="Open Sans" panose="020B0606030504020204" pitchFamily="34" charset="0"/>
              </a:rPr>
              <a:t>Analyser</a:t>
            </a:r>
            <a:r>
              <a:rPr kumimoji="0" lang="en-GB" sz="1200" b="0" i="0" u="none" strike="noStrike" kern="1200" cap="none" spc="0" normalizeH="0" baseline="0" dirty="0">
                <a:ln>
                  <a:noFill/>
                </a:ln>
                <a:solidFill>
                  <a:srgbClr val="53565A"/>
                </a:solidFill>
                <a:effectLst/>
                <a:uLnTx/>
                <a:uFillTx/>
                <a:latin typeface="+mj-lt"/>
                <a:ea typeface="Open Sans" panose="020B0606030504020204" pitchFamily="34" charset="0"/>
                <a:cs typeface="Open Sans" panose="020B0606030504020204" pitchFamily="34" charset="0"/>
              </a:rPr>
              <a:t> </a:t>
            </a:r>
          </a:p>
          <a:p>
            <a:pPr marL="0" marR="0" lvl="0" indent="0" algn="ctr" defTabSz="914400" eaLnBrk="1" fontAlgn="auto" latinLnBrk="0" hangingPunct="1">
              <a:lnSpc>
                <a:spcPct val="100000"/>
              </a:lnSpc>
              <a:spcBef>
                <a:spcPts val="600"/>
              </a:spcBef>
              <a:spcAft>
                <a:spcPts val="0"/>
              </a:spcAft>
              <a:buClrTx/>
              <a:buSzPct val="100000"/>
              <a:buFontTx/>
              <a:buNone/>
              <a:tabLst/>
              <a:defRPr/>
            </a:pPr>
            <a:r>
              <a:rPr lang="fr-FR" sz="1200" dirty="0">
                <a:solidFill>
                  <a:prstClr val="black"/>
                </a:solidFill>
                <a:latin typeface="+mj-lt"/>
                <a:ea typeface="Open Sans" panose="020B0606030504020204" pitchFamily="34" charset="0"/>
                <a:cs typeface="Open Sans" panose="020B0606030504020204" pitchFamily="34" charset="0"/>
              </a:rPr>
              <a:t>E</a:t>
            </a:r>
            <a:r>
              <a:rPr kumimoji="0" lang="fr-FR" sz="1200" b="0" i="0" u="none" strike="noStrike" kern="1200" cap="none" spc="0" normalizeH="0" baseline="0" dirty="0">
                <a:ln>
                  <a:noFill/>
                </a:ln>
                <a:solidFill>
                  <a:prstClr val="black"/>
                </a:solidFill>
                <a:effectLst/>
                <a:uLnTx/>
                <a:uFillTx/>
                <a:latin typeface="+mj-lt"/>
                <a:ea typeface="Open Sans" panose="020B0606030504020204" pitchFamily="34" charset="0"/>
                <a:cs typeface="Open Sans" panose="020B0606030504020204" pitchFamily="34" charset="0"/>
              </a:rPr>
              <a:t>xaminer les sujets actuels et les participants couverts lors des réunions de gouvernance IAM afin de déterminer les écarts entre l'état actuel, l'état souhaité et les meilleures pratiques pour la gouvernance AD.</a:t>
            </a:r>
            <a:endParaRPr kumimoji="0" lang="en-GB" sz="1200" b="0" i="0" u="none" strike="noStrike" kern="1200" cap="none" spc="0" normalizeH="0" baseline="0" dirty="0">
              <a:ln>
                <a:noFill/>
              </a:ln>
              <a:solidFill>
                <a:srgbClr val="313131"/>
              </a:solidFill>
              <a:effectLst/>
              <a:uLnTx/>
              <a:uFillTx/>
              <a:latin typeface="+mj-lt"/>
              <a:ea typeface="Open Sans" panose="020B0606030504020204" pitchFamily="34" charset="0"/>
              <a:cs typeface="Open Sans" panose="020B0606030504020204" pitchFamily="34" charset="0"/>
            </a:endParaRPr>
          </a:p>
        </p:txBody>
      </p:sp>
      <p:sp>
        <p:nvSpPr>
          <p:cNvPr id="38" name="TextBox 37">
            <a:extLst>
              <a:ext uri="{FF2B5EF4-FFF2-40B4-BE49-F238E27FC236}">
                <a16:creationId xmlns:a16="http://schemas.microsoft.com/office/drawing/2014/main" id="{5B680DFD-8CAF-4B3B-ADEC-8299B802955D}"/>
              </a:ext>
            </a:extLst>
          </p:cNvPr>
          <p:cNvSpPr txBox="1"/>
          <p:nvPr/>
        </p:nvSpPr>
        <p:spPr>
          <a:xfrm>
            <a:off x="8060741" y="4365439"/>
            <a:ext cx="1561112" cy="1369606"/>
          </a:xfrm>
          <a:prstGeom prst="rect">
            <a:avLst/>
          </a:prstGeom>
          <a:noFill/>
          <a:ln w="12700">
            <a:noFill/>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fr-FR" sz="1200" b="1" i="0" u="none" strike="noStrike" kern="1200" cap="none" spc="0" normalizeH="0" baseline="0" dirty="0">
                <a:ln>
                  <a:noFill/>
                </a:ln>
                <a:solidFill>
                  <a:schemeClr val="accent1"/>
                </a:solidFill>
                <a:effectLst/>
                <a:uLnTx/>
                <a:uFillTx/>
                <a:latin typeface="+mj-lt"/>
                <a:ea typeface="Open Sans" panose="020B0606030504020204" pitchFamily="34" charset="0"/>
                <a:cs typeface="Open Sans" panose="020B0606030504020204" pitchFamily="34" charset="0"/>
              </a:rPr>
              <a:t>Recommander</a:t>
            </a:r>
            <a:r>
              <a:rPr kumimoji="0" lang="en-US" sz="1200" b="0" i="0" u="none" strike="noStrike" kern="1200" cap="none" spc="0" normalizeH="0" baseline="0" noProof="0" dirty="0">
                <a:ln>
                  <a:noFill/>
                </a:ln>
                <a:solidFill>
                  <a:schemeClr val="accent3"/>
                </a:solidFill>
                <a:effectLst/>
                <a:uLnTx/>
                <a:uFillTx/>
                <a:latin typeface="+mj-lt"/>
                <a:ea typeface="Open Sans" panose="020B0606030504020204" pitchFamily="34" charset="0"/>
                <a:cs typeface="Open Sans" panose="020B0606030504020204" pitchFamily="34" charset="0"/>
              </a:rPr>
              <a:t> </a:t>
            </a:r>
          </a:p>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fr-FR" sz="1200" b="0" i="0" u="none" strike="noStrike" kern="1200" cap="none" spc="0" normalizeH="0" baseline="0" noProof="0" dirty="0">
                <a:ln>
                  <a:noFill/>
                </a:ln>
                <a:solidFill>
                  <a:prstClr val="black"/>
                </a:solidFill>
                <a:effectLst/>
                <a:uLnTx/>
                <a:uFillTx/>
                <a:latin typeface="+mj-lt"/>
                <a:ea typeface="Open Sans" panose="020B0606030504020204" pitchFamily="34" charset="0"/>
                <a:cs typeface="Open Sans" panose="020B0606030504020204" pitchFamily="34" charset="0"/>
              </a:rPr>
              <a:t>Recommander une feuille de route pour mettre en œuvre les instances de gouvernance AD appropriées. </a:t>
            </a:r>
            <a:endParaRPr kumimoji="0" lang="en-US" sz="1200" b="0" i="0" u="none" strike="noStrike" kern="1200" cap="none" spc="0" normalizeH="0" baseline="0" noProof="0" dirty="0">
              <a:ln>
                <a:noFill/>
              </a:ln>
              <a:solidFill>
                <a:srgbClr val="313131"/>
              </a:solidFill>
              <a:effectLst/>
              <a:uLnTx/>
              <a:uFillTx/>
              <a:latin typeface="+mj-lt"/>
              <a:ea typeface="Open Sans" panose="020B0606030504020204" pitchFamily="34" charset="0"/>
              <a:cs typeface="Open Sans" panose="020B0606030504020204" pitchFamily="34" charset="0"/>
            </a:endParaRPr>
          </a:p>
        </p:txBody>
      </p:sp>
      <p:sp>
        <p:nvSpPr>
          <p:cNvPr id="40" name="Arc 39">
            <a:extLst>
              <a:ext uri="{FF2B5EF4-FFF2-40B4-BE49-F238E27FC236}">
                <a16:creationId xmlns:a16="http://schemas.microsoft.com/office/drawing/2014/main" id="{7580797F-7A78-4546-B25D-A7AEC01C10C1}"/>
              </a:ext>
            </a:extLst>
          </p:cNvPr>
          <p:cNvSpPr/>
          <p:nvPr/>
        </p:nvSpPr>
        <p:spPr>
          <a:xfrm rot="5074366">
            <a:off x="7834034" y="1586767"/>
            <a:ext cx="1767774" cy="1774354"/>
          </a:xfrm>
          <a:prstGeom prst="arc">
            <a:avLst>
              <a:gd name="adj1" fmla="val 7056037"/>
              <a:gd name="adj2" fmla="val 14055003"/>
            </a:avLst>
          </a:prstGeom>
          <a:solidFill>
            <a:sysClr val="window" lastClr="FFFFFF"/>
          </a:solidFill>
          <a:ln w="19050" cap="flat" cmpd="sng" algn="ctr">
            <a:solidFill>
              <a:schemeClr val="accent1"/>
            </a:solidFill>
            <a:prstDash val="solid"/>
            <a:miter lim="800000"/>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mj-lt"/>
              <a:ea typeface="Open Sans" panose="020B0606030504020204" pitchFamily="34" charset="0"/>
              <a:cs typeface="Open Sans" panose="020B0606030504020204" pitchFamily="34" charset="0"/>
            </a:endParaRPr>
          </a:p>
        </p:txBody>
      </p:sp>
      <p:sp>
        <p:nvSpPr>
          <p:cNvPr id="45" name="Arc 44">
            <a:extLst>
              <a:ext uri="{FF2B5EF4-FFF2-40B4-BE49-F238E27FC236}">
                <a16:creationId xmlns:a16="http://schemas.microsoft.com/office/drawing/2014/main" id="{BD2D0235-B2C0-4A4A-8E18-B6D4478BBF7A}"/>
              </a:ext>
            </a:extLst>
          </p:cNvPr>
          <p:cNvSpPr/>
          <p:nvPr/>
        </p:nvSpPr>
        <p:spPr>
          <a:xfrm rot="5074366">
            <a:off x="4603216" y="1586767"/>
            <a:ext cx="1767774" cy="1774354"/>
          </a:xfrm>
          <a:prstGeom prst="arc">
            <a:avLst>
              <a:gd name="adj1" fmla="val 17745980"/>
              <a:gd name="adj2" fmla="val 14055003"/>
            </a:avLst>
          </a:prstGeom>
          <a:solidFill>
            <a:sysClr val="window" lastClr="FFFFFF"/>
          </a:solidFill>
          <a:ln w="19050" cap="flat" cmpd="sng" algn="ctr">
            <a:solidFill>
              <a:schemeClr val="bg2"/>
            </a:solidFill>
            <a:prstDash val="solid"/>
            <a:miter lim="800000"/>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mj-lt"/>
              <a:ea typeface="Open Sans" panose="020B0606030504020204" pitchFamily="34" charset="0"/>
              <a:cs typeface="Open Sans" panose="020B0606030504020204" pitchFamily="34" charset="0"/>
            </a:endParaRPr>
          </a:p>
        </p:txBody>
      </p:sp>
      <p:sp>
        <p:nvSpPr>
          <p:cNvPr id="46" name="Oval 45">
            <a:extLst>
              <a:ext uri="{FF2B5EF4-FFF2-40B4-BE49-F238E27FC236}">
                <a16:creationId xmlns:a16="http://schemas.microsoft.com/office/drawing/2014/main" id="{BF47FE0A-757F-4B41-9814-30F57EF30F10}"/>
              </a:ext>
            </a:extLst>
          </p:cNvPr>
          <p:cNvSpPr/>
          <p:nvPr/>
        </p:nvSpPr>
        <p:spPr bwMode="gray">
          <a:xfrm>
            <a:off x="4761676" y="1751208"/>
            <a:ext cx="1450853" cy="1445473"/>
          </a:xfrm>
          <a:prstGeom prst="ellipse">
            <a:avLst/>
          </a:prstGeom>
          <a:solidFill>
            <a:schemeClr val="bg1"/>
          </a:solidFill>
          <a:ln w="19050" algn="ctr">
            <a:solidFill>
              <a:schemeClr val="bg2"/>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mj-lt"/>
              <a:ea typeface="Open Sans" panose="020B0606030504020204" pitchFamily="34" charset="0"/>
              <a:cs typeface="Open Sans" panose="020B0606030504020204" pitchFamily="34" charset="0"/>
            </a:endParaRPr>
          </a:p>
        </p:txBody>
      </p:sp>
      <p:sp>
        <p:nvSpPr>
          <p:cNvPr id="47" name="Arc 46">
            <a:extLst>
              <a:ext uri="{FF2B5EF4-FFF2-40B4-BE49-F238E27FC236}">
                <a16:creationId xmlns:a16="http://schemas.microsoft.com/office/drawing/2014/main" id="{4B3747D0-41D5-4AF9-923D-75710B8C3F06}"/>
              </a:ext>
            </a:extLst>
          </p:cNvPr>
          <p:cNvSpPr/>
          <p:nvPr/>
        </p:nvSpPr>
        <p:spPr>
          <a:xfrm rot="5074366">
            <a:off x="7818791" y="1586767"/>
            <a:ext cx="1767774" cy="1774354"/>
          </a:xfrm>
          <a:prstGeom prst="arc">
            <a:avLst>
              <a:gd name="adj1" fmla="val 17745980"/>
              <a:gd name="adj2" fmla="val 4106414"/>
            </a:avLst>
          </a:prstGeom>
          <a:solidFill>
            <a:sysClr val="window" lastClr="FFFFFF"/>
          </a:solidFill>
          <a:ln w="19050" cap="flat" cmpd="sng" algn="ctr">
            <a:solidFill>
              <a:schemeClr val="accent1"/>
            </a:solidFill>
            <a:prstDash val="solid"/>
            <a:miter lim="800000"/>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mj-lt"/>
              <a:ea typeface="Open Sans" panose="020B0606030504020204" pitchFamily="34" charset="0"/>
              <a:cs typeface="Open Sans" panose="020B0606030504020204" pitchFamily="34" charset="0"/>
            </a:endParaRPr>
          </a:p>
        </p:txBody>
      </p:sp>
      <p:sp>
        <p:nvSpPr>
          <p:cNvPr id="60" name="Oval 59">
            <a:extLst>
              <a:ext uri="{FF2B5EF4-FFF2-40B4-BE49-F238E27FC236}">
                <a16:creationId xmlns:a16="http://schemas.microsoft.com/office/drawing/2014/main" id="{9126D4D6-7CAA-46C0-97FB-C669F145D14C}"/>
              </a:ext>
            </a:extLst>
          </p:cNvPr>
          <p:cNvSpPr/>
          <p:nvPr/>
        </p:nvSpPr>
        <p:spPr bwMode="gray">
          <a:xfrm>
            <a:off x="7992492" y="1751208"/>
            <a:ext cx="1450853" cy="1445473"/>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mj-lt"/>
              <a:ea typeface="Open Sans" panose="020B0606030504020204" pitchFamily="34" charset="0"/>
              <a:cs typeface="Open Sans" panose="020B0606030504020204" pitchFamily="34" charset="0"/>
            </a:endParaRPr>
          </a:p>
        </p:txBody>
      </p:sp>
      <p:cxnSp>
        <p:nvCxnSpPr>
          <p:cNvPr id="61" name="Straight Connector 60">
            <a:extLst>
              <a:ext uri="{FF2B5EF4-FFF2-40B4-BE49-F238E27FC236}">
                <a16:creationId xmlns:a16="http://schemas.microsoft.com/office/drawing/2014/main" id="{73D47921-97F1-483F-ABD7-00EEE64DAD74}"/>
              </a:ext>
            </a:extLst>
          </p:cNvPr>
          <p:cNvCxnSpPr>
            <a:cxnSpLocks/>
          </p:cNvCxnSpPr>
          <p:nvPr/>
        </p:nvCxnSpPr>
        <p:spPr>
          <a:xfrm>
            <a:off x="5487103" y="3356249"/>
            <a:ext cx="0" cy="765466"/>
          </a:xfrm>
          <a:prstGeom prst="line">
            <a:avLst/>
          </a:prstGeom>
          <a:solidFill>
            <a:sysClr val="window" lastClr="FFFFFF"/>
          </a:solidFill>
          <a:ln w="12700" cap="flat" cmpd="sng" algn="ctr">
            <a:solidFill>
              <a:schemeClr val="bg2"/>
            </a:solidFill>
            <a:prstDash val="solid"/>
            <a:miter lim="800000"/>
            <a:headEnd type="none"/>
            <a:tailEnd type="oval" w="med" len="med"/>
          </a:ln>
          <a:effectLst/>
        </p:spPr>
      </p:cxnSp>
      <p:cxnSp>
        <p:nvCxnSpPr>
          <p:cNvPr id="62" name="Straight Connector 61">
            <a:extLst>
              <a:ext uri="{FF2B5EF4-FFF2-40B4-BE49-F238E27FC236}">
                <a16:creationId xmlns:a16="http://schemas.microsoft.com/office/drawing/2014/main" id="{97B169E6-6F35-4E9F-B441-7886AD52A33E}"/>
              </a:ext>
            </a:extLst>
          </p:cNvPr>
          <p:cNvCxnSpPr>
            <a:cxnSpLocks/>
          </p:cNvCxnSpPr>
          <p:nvPr/>
        </p:nvCxnSpPr>
        <p:spPr>
          <a:xfrm>
            <a:off x="7094890" y="3356249"/>
            <a:ext cx="0" cy="765466"/>
          </a:xfrm>
          <a:prstGeom prst="line">
            <a:avLst/>
          </a:prstGeom>
          <a:solidFill>
            <a:sysClr val="window" lastClr="FFFFFF"/>
          </a:solidFill>
          <a:ln w="12700" cap="flat" cmpd="sng" algn="ctr">
            <a:solidFill>
              <a:srgbClr val="007680"/>
            </a:solidFill>
            <a:prstDash val="solid"/>
            <a:miter lim="800000"/>
            <a:headEnd type="none"/>
            <a:tailEnd type="oval" w="med" len="med"/>
          </a:ln>
          <a:effectLst/>
        </p:spPr>
      </p:cxnSp>
      <p:cxnSp>
        <p:nvCxnSpPr>
          <p:cNvPr id="63" name="Straight Connector 62">
            <a:extLst>
              <a:ext uri="{FF2B5EF4-FFF2-40B4-BE49-F238E27FC236}">
                <a16:creationId xmlns:a16="http://schemas.microsoft.com/office/drawing/2014/main" id="{F82E7AC1-CC0A-4899-A3C1-BFE520E06922}"/>
              </a:ext>
            </a:extLst>
          </p:cNvPr>
          <p:cNvCxnSpPr>
            <a:cxnSpLocks/>
          </p:cNvCxnSpPr>
          <p:nvPr/>
        </p:nvCxnSpPr>
        <p:spPr>
          <a:xfrm>
            <a:off x="8717923" y="3356249"/>
            <a:ext cx="0" cy="765466"/>
          </a:xfrm>
          <a:prstGeom prst="line">
            <a:avLst/>
          </a:prstGeom>
          <a:solidFill>
            <a:sysClr val="window" lastClr="FFFFFF"/>
          </a:solidFill>
          <a:ln w="12700" cap="flat" cmpd="sng" algn="ctr">
            <a:solidFill>
              <a:schemeClr val="accent1"/>
            </a:solidFill>
            <a:prstDash val="solid"/>
            <a:miter lim="800000"/>
            <a:headEnd type="none"/>
            <a:tailEnd type="oval" w="med" len="med"/>
          </a:ln>
          <a:effectLst/>
        </p:spPr>
      </p:cxnSp>
      <p:grpSp>
        <p:nvGrpSpPr>
          <p:cNvPr id="64" name="Group 63">
            <a:extLst>
              <a:ext uri="{FF2B5EF4-FFF2-40B4-BE49-F238E27FC236}">
                <a16:creationId xmlns:a16="http://schemas.microsoft.com/office/drawing/2014/main" id="{6BD5C082-62EC-4B01-8D73-33B2C71DB74E}"/>
              </a:ext>
            </a:extLst>
          </p:cNvPr>
          <p:cNvGrpSpPr>
            <a:grpSpLocks noChangeAspect="1"/>
          </p:cNvGrpSpPr>
          <p:nvPr/>
        </p:nvGrpSpPr>
        <p:grpSpPr>
          <a:xfrm>
            <a:off x="5157628" y="2202002"/>
            <a:ext cx="559387" cy="543883"/>
            <a:chOff x="12361863" y="5345113"/>
            <a:chExt cx="527050" cy="514350"/>
          </a:xfrm>
          <a:solidFill>
            <a:schemeClr val="tx1">
              <a:lumMod val="65000"/>
              <a:lumOff val="35000"/>
            </a:schemeClr>
          </a:solidFill>
        </p:grpSpPr>
        <p:sp>
          <p:nvSpPr>
            <p:cNvPr id="65" name="Freeform 673">
              <a:extLst>
                <a:ext uri="{FF2B5EF4-FFF2-40B4-BE49-F238E27FC236}">
                  <a16:creationId xmlns:a16="http://schemas.microsoft.com/office/drawing/2014/main" id="{57370037-0DF2-49AB-A0F6-D232919E436E}"/>
                </a:ext>
              </a:extLst>
            </p:cNvPr>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w="12700">
              <a:solidFill>
                <a:srgbClr val="53565A"/>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66" name="Freeform 674">
              <a:extLst>
                <a:ext uri="{FF2B5EF4-FFF2-40B4-BE49-F238E27FC236}">
                  <a16:creationId xmlns:a16="http://schemas.microsoft.com/office/drawing/2014/main" id="{89C9C7A4-8F6B-4A23-830E-0DFB4801E544}"/>
                </a:ext>
              </a:extLst>
            </p:cNvPr>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w="12700">
              <a:solidFill>
                <a:srgbClr val="53565A"/>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67" name="Freeform 675">
              <a:extLst>
                <a:ext uri="{FF2B5EF4-FFF2-40B4-BE49-F238E27FC236}">
                  <a16:creationId xmlns:a16="http://schemas.microsoft.com/office/drawing/2014/main" id="{BAACA2FE-F5F4-4787-81BC-58C41C7EABC2}"/>
                </a:ext>
              </a:extLst>
            </p:cNvPr>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w="12700">
              <a:solidFill>
                <a:srgbClr val="53565A"/>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68" name="Freeform 676">
              <a:extLst>
                <a:ext uri="{FF2B5EF4-FFF2-40B4-BE49-F238E27FC236}">
                  <a16:creationId xmlns:a16="http://schemas.microsoft.com/office/drawing/2014/main" id="{32FA1137-23DA-4929-83E2-F8E7DA9E4AF9}"/>
                </a:ext>
              </a:extLst>
            </p:cNvPr>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w="12700">
              <a:solidFill>
                <a:srgbClr val="53565A"/>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69" name="Freeform 677">
              <a:extLst>
                <a:ext uri="{FF2B5EF4-FFF2-40B4-BE49-F238E27FC236}">
                  <a16:creationId xmlns:a16="http://schemas.microsoft.com/office/drawing/2014/main" id="{F49B2D00-933F-4B79-8BCB-2D7A96EC81AA}"/>
                </a:ext>
              </a:extLst>
            </p:cNvPr>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w="12700">
              <a:solidFill>
                <a:srgbClr val="53565A"/>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grpSp>
      <p:grpSp>
        <p:nvGrpSpPr>
          <p:cNvPr id="70" name="Group 69">
            <a:extLst>
              <a:ext uri="{FF2B5EF4-FFF2-40B4-BE49-F238E27FC236}">
                <a16:creationId xmlns:a16="http://schemas.microsoft.com/office/drawing/2014/main" id="{DF7EBFA9-986E-4E1D-B2CA-5FA3D8841652}"/>
              </a:ext>
            </a:extLst>
          </p:cNvPr>
          <p:cNvGrpSpPr>
            <a:grpSpLocks noChangeAspect="1"/>
          </p:cNvGrpSpPr>
          <p:nvPr/>
        </p:nvGrpSpPr>
        <p:grpSpPr>
          <a:xfrm>
            <a:off x="8415399" y="2219627"/>
            <a:ext cx="574552" cy="542204"/>
            <a:chOff x="4662488" y="4738688"/>
            <a:chExt cx="541338" cy="512762"/>
          </a:xfrm>
          <a:solidFill>
            <a:sysClr val="window" lastClr="FFFFFF"/>
          </a:solidFill>
        </p:grpSpPr>
        <p:sp>
          <p:nvSpPr>
            <p:cNvPr id="71" name="Freeform 198">
              <a:extLst>
                <a:ext uri="{FF2B5EF4-FFF2-40B4-BE49-F238E27FC236}">
                  <a16:creationId xmlns:a16="http://schemas.microsoft.com/office/drawing/2014/main" id="{DC43410F-A47A-4E0D-9DA5-20A739D5E7CF}"/>
                </a:ext>
              </a:extLst>
            </p:cNvPr>
            <p:cNvSpPr>
              <a:spLocks/>
            </p:cNvSpPr>
            <p:nvPr/>
          </p:nvSpPr>
          <p:spPr bwMode="auto">
            <a:xfrm>
              <a:off x="4662488" y="4738688"/>
              <a:ext cx="541338" cy="511175"/>
            </a:xfrm>
            <a:custGeom>
              <a:avLst/>
              <a:gdLst>
                <a:gd name="T0" fmla="*/ 235 w 237"/>
                <a:gd name="T1" fmla="*/ 85 h 223"/>
                <a:gd name="T2" fmla="*/ 225 w 237"/>
                <a:gd name="T3" fmla="*/ 77 h 223"/>
                <a:gd name="T4" fmla="*/ 153 w 237"/>
                <a:gd name="T5" fmla="*/ 75 h 223"/>
                <a:gd name="T6" fmla="*/ 129 w 237"/>
                <a:gd name="T7" fmla="*/ 8 h 223"/>
                <a:gd name="T8" fmla="*/ 118 w 237"/>
                <a:gd name="T9" fmla="*/ 0 h 223"/>
                <a:gd name="T10" fmla="*/ 108 w 237"/>
                <a:gd name="T11" fmla="*/ 8 h 223"/>
                <a:gd name="T12" fmla="*/ 84 w 237"/>
                <a:gd name="T13" fmla="*/ 75 h 223"/>
                <a:gd name="T14" fmla="*/ 12 w 237"/>
                <a:gd name="T15" fmla="*/ 77 h 223"/>
                <a:gd name="T16" fmla="*/ 2 w 237"/>
                <a:gd name="T17" fmla="*/ 85 h 223"/>
                <a:gd name="T18" fmla="*/ 6 w 237"/>
                <a:gd name="T19" fmla="*/ 97 h 223"/>
                <a:gd name="T20" fmla="*/ 63 w 237"/>
                <a:gd name="T21" fmla="*/ 140 h 223"/>
                <a:gd name="T22" fmla="*/ 42 w 237"/>
                <a:gd name="T23" fmla="*/ 208 h 223"/>
                <a:gd name="T24" fmla="*/ 46 w 237"/>
                <a:gd name="T25" fmla="*/ 220 h 223"/>
                <a:gd name="T26" fmla="*/ 53 w 237"/>
                <a:gd name="T27" fmla="*/ 223 h 223"/>
                <a:gd name="T28" fmla="*/ 60 w 237"/>
                <a:gd name="T29" fmla="*/ 221 h 223"/>
                <a:gd name="T30" fmla="*/ 121 w 237"/>
                <a:gd name="T31" fmla="*/ 178 h 223"/>
                <a:gd name="T32" fmla="*/ 122 w 237"/>
                <a:gd name="T33" fmla="*/ 172 h 223"/>
                <a:gd name="T34" fmla="*/ 116 w 237"/>
                <a:gd name="T35" fmla="*/ 170 h 223"/>
                <a:gd name="T36" fmla="*/ 54 w 237"/>
                <a:gd name="T37" fmla="*/ 213 h 223"/>
                <a:gd name="T38" fmla="*/ 52 w 237"/>
                <a:gd name="T39" fmla="*/ 213 h 223"/>
                <a:gd name="T40" fmla="*/ 51 w 237"/>
                <a:gd name="T41" fmla="*/ 211 h 223"/>
                <a:gd name="T42" fmla="*/ 73 w 237"/>
                <a:gd name="T43" fmla="*/ 140 h 223"/>
                <a:gd name="T44" fmla="*/ 71 w 237"/>
                <a:gd name="T45" fmla="*/ 134 h 223"/>
                <a:gd name="T46" fmla="*/ 11 w 237"/>
                <a:gd name="T47" fmla="*/ 90 h 223"/>
                <a:gd name="T48" fmla="*/ 11 w 237"/>
                <a:gd name="T49" fmla="*/ 87 h 223"/>
                <a:gd name="T50" fmla="*/ 13 w 237"/>
                <a:gd name="T51" fmla="*/ 86 h 223"/>
                <a:gd name="T52" fmla="*/ 88 w 237"/>
                <a:gd name="T53" fmla="*/ 84 h 223"/>
                <a:gd name="T54" fmla="*/ 92 w 237"/>
                <a:gd name="T55" fmla="*/ 81 h 223"/>
                <a:gd name="T56" fmla="*/ 117 w 237"/>
                <a:gd name="T57" fmla="*/ 11 h 223"/>
                <a:gd name="T58" fmla="*/ 120 w 237"/>
                <a:gd name="T59" fmla="*/ 11 h 223"/>
                <a:gd name="T60" fmla="*/ 145 w 237"/>
                <a:gd name="T61" fmla="*/ 81 h 223"/>
                <a:gd name="T62" fmla="*/ 149 w 237"/>
                <a:gd name="T63" fmla="*/ 84 h 223"/>
                <a:gd name="T64" fmla="*/ 224 w 237"/>
                <a:gd name="T65" fmla="*/ 86 h 223"/>
                <a:gd name="T66" fmla="*/ 226 w 237"/>
                <a:gd name="T67" fmla="*/ 87 h 223"/>
                <a:gd name="T68" fmla="*/ 225 w 237"/>
                <a:gd name="T69" fmla="*/ 90 h 223"/>
                <a:gd name="T70" fmla="*/ 189 w 237"/>
                <a:gd name="T71" fmla="*/ 117 h 223"/>
                <a:gd name="T72" fmla="*/ 188 w 237"/>
                <a:gd name="T73" fmla="*/ 123 h 223"/>
                <a:gd name="T74" fmla="*/ 195 w 237"/>
                <a:gd name="T75" fmla="*/ 124 h 223"/>
                <a:gd name="T76" fmla="*/ 231 w 237"/>
                <a:gd name="T77" fmla="*/ 97 h 223"/>
                <a:gd name="T78" fmla="*/ 235 w 237"/>
                <a:gd name="T79" fmla="*/ 8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223">
                  <a:moveTo>
                    <a:pt x="235" y="85"/>
                  </a:moveTo>
                  <a:cubicBezTo>
                    <a:pt x="234" y="80"/>
                    <a:pt x="229" y="77"/>
                    <a:pt x="225" y="77"/>
                  </a:cubicBezTo>
                  <a:cubicBezTo>
                    <a:pt x="153" y="75"/>
                    <a:pt x="153" y="75"/>
                    <a:pt x="153" y="75"/>
                  </a:cubicBezTo>
                  <a:cubicBezTo>
                    <a:pt x="129" y="8"/>
                    <a:pt x="129" y="8"/>
                    <a:pt x="129" y="8"/>
                  </a:cubicBezTo>
                  <a:cubicBezTo>
                    <a:pt x="128" y="4"/>
                    <a:pt x="123" y="0"/>
                    <a:pt x="118" y="0"/>
                  </a:cubicBezTo>
                  <a:cubicBezTo>
                    <a:pt x="114" y="0"/>
                    <a:pt x="109" y="4"/>
                    <a:pt x="108" y="8"/>
                  </a:cubicBezTo>
                  <a:cubicBezTo>
                    <a:pt x="84" y="75"/>
                    <a:pt x="84" y="75"/>
                    <a:pt x="84" y="75"/>
                  </a:cubicBezTo>
                  <a:cubicBezTo>
                    <a:pt x="12" y="77"/>
                    <a:pt x="12" y="77"/>
                    <a:pt x="12" y="77"/>
                  </a:cubicBezTo>
                  <a:cubicBezTo>
                    <a:pt x="7" y="77"/>
                    <a:pt x="3" y="80"/>
                    <a:pt x="2" y="85"/>
                  </a:cubicBezTo>
                  <a:cubicBezTo>
                    <a:pt x="0" y="89"/>
                    <a:pt x="2" y="94"/>
                    <a:pt x="6" y="97"/>
                  </a:cubicBezTo>
                  <a:cubicBezTo>
                    <a:pt x="63" y="140"/>
                    <a:pt x="63" y="140"/>
                    <a:pt x="63" y="140"/>
                  </a:cubicBezTo>
                  <a:cubicBezTo>
                    <a:pt x="42" y="208"/>
                    <a:pt x="42" y="208"/>
                    <a:pt x="42" y="208"/>
                  </a:cubicBezTo>
                  <a:cubicBezTo>
                    <a:pt x="41" y="212"/>
                    <a:pt x="42" y="218"/>
                    <a:pt x="46" y="220"/>
                  </a:cubicBezTo>
                  <a:cubicBezTo>
                    <a:pt x="48" y="222"/>
                    <a:pt x="51" y="223"/>
                    <a:pt x="53" y="223"/>
                  </a:cubicBezTo>
                  <a:cubicBezTo>
                    <a:pt x="55" y="223"/>
                    <a:pt x="58" y="222"/>
                    <a:pt x="60" y="221"/>
                  </a:cubicBezTo>
                  <a:cubicBezTo>
                    <a:pt x="121" y="178"/>
                    <a:pt x="121" y="178"/>
                    <a:pt x="121" y="178"/>
                  </a:cubicBezTo>
                  <a:cubicBezTo>
                    <a:pt x="123" y="177"/>
                    <a:pt x="124" y="174"/>
                    <a:pt x="122" y="172"/>
                  </a:cubicBezTo>
                  <a:cubicBezTo>
                    <a:pt x="121" y="169"/>
                    <a:pt x="118" y="169"/>
                    <a:pt x="116" y="170"/>
                  </a:cubicBezTo>
                  <a:cubicBezTo>
                    <a:pt x="54" y="213"/>
                    <a:pt x="54" y="213"/>
                    <a:pt x="54" y="213"/>
                  </a:cubicBezTo>
                  <a:cubicBezTo>
                    <a:pt x="53" y="213"/>
                    <a:pt x="53" y="213"/>
                    <a:pt x="52" y="213"/>
                  </a:cubicBezTo>
                  <a:cubicBezTo>
                    <a:pt x="51" y="212"/>
                    <a:pt x="51" y="211"/>
                    <a:pt x="51" y="211"/>
                  </a:cubicBezTo>
                  <a:cubicBezTo>
                    <a:pt x="73" y="140"/>
                    <a:pt x="73" y="140"/>
                    <a:pt x="73" y="140"/>
                  </a:cubicBezTo>
                  <a:cubicBezTo>
                    <a:pt x="73" y="138"/>
                    <a:pt x="73" y="136"/>
                    <a:pt x="71" y="134"/>
                  </a:cubicBezTo>
                  <a:cubicBezTo>
                    <a:pt x="11" y="90"/>
                    <a:pt x="11" y="90"/>
                    <a:pt x="11" y="90"/>
                  </a:cubicBezTo>
                  <a:cubicBezTo>
                    <a:pt x="11" y="89"/>
                    <a:pt x="10" y="88"/>
                    <a:pt x="11" y="87"/>
                  </a:cubicBezTo>
                  <a:cubicBezTo>
                    <a:pt x="11" y="87"/>
                    <a:pt x="12" y="86"/>
                    <a:pt x="13" y="86"/>
                  </a:cubicBezTo>
                  <a:cubicBezTo>
                    <a:pt x="88" y="84"/>
                    <a:pt x="88" y="84"/>
                    <a:pt x="88" y="84"/>
                  </a:cubicBezTo>
                  <a:cubicBezTo>
                    <a:pt x="90" y="84"/>
                    <a:pt x="91" y="83"/>
                    <a:pt x="92" y="81"/>
                  </a:cubicBezTo>
                  <a:cubicBezTo>
                    <a:pt x="117" y="11"/>
                    <a:pt x="117" y="11"/>
                    <a:pt x="117" y="11"/>
                  </a:cubicBezTo>
                  <a:cubicBezTo>
                    <a:pt x="117" y="10"/>
                    <a:pt x="120" y="10"/>
                    <a:pt x="120" y="11"/>
                  </a:cubicBezTo>
                  <a:cubicBezTo>
                    <a:pt x="145" y="81"/>
                    <a:pt x="145" y="81"/>
                    <a:pt x="145" y="81"/>
                  </a:cubicBezTo>
                  <a:cubicBezTo>
                    <a:pt x="146" y="83"/>
                    <a:pt x="147" y="84"/>
                    <a:pt x="149" y="84"/>
                  </a:cubicBezTo>
                  <a:cubicBezTo>
                    <a:pt x="224" y="86"/>
                    <a:pt x="224" y="86"/>
                    <a:pt x="224" y="86"/>
                  </a:cubicBezTo>
                  <a:cubicBezTo>
                    <a:pt x="225" y="86"/>
                    <a:pt x="226" y="87"/>
                    <a:pt x="226" y="87"/>
                  </a:cubicBezTo>
                  <a:cubicBezTo>
                    <a:pt x="226" y="88"/>
                    <a:pt x="226" y="89"/>
                    <a:pt x="225" y="90"/>
                  </a:cubicBezTo>
                  <a:cubicBezTo>
                    <a:pt x="189" y="117"/>
                    <a:pt x="189" y="117"/>
                    <a:pt x="189" y="117"/>
                  </a:cubicBezTo>
                  <a:cubicBezTo>
                    <a:pt x="187" y="118"/>
                    <a:pt x="187" y="121"/>
                    <a:pt x="188" y="123"/>
                  </a:cubicBezTo>
                  <a:cubicBezTo>
                    <a:pt x="190" y="126"/>
                    <a:pt x="193" y="126"/>
                    <a:pt x="195" y="124"/>
                  </a:cubicBezTo>
                  <a:cubicBezTo>
                    <a:pt x="231" y="97"/>
                    <a:pt x="231" y="97"/>
                    <a:pt x="231" y="97"/>
                  </a:cubicBezTo>
                  <a:cubicBezTo>
                    <a:pt x="235" y="94"/>
                    <a:pt x="237" y="89"/>
                    <a:pt x="235" y="85"/>
                  </a:cubicBezTo>
                  <a:close/>
                </a:path>
              </a:pathLst>
            </a:custGeom>
            <a:solidFill>
              <a:schemeClr val="accent1"/>
            </a:solidFill>
            <a:ln w="12700">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72" name="Freeform 199">
              <a:extLst>
                <a:ext uri="{FF2B5EF4-FFF2-40B4-BE49-F238E27FC236}">
                  <a16:creationId xmlns:a16="http://schemas.microsoft.com/office/drawing/2014/main" id="{1BB9E7AD-A433-4FC1-A118-6624355C311B}"/>
                </a:ext>
              </a:extLst>
            </p:cNvPr>
            <p:cNvSpPr>
              <a:spLocks/>
            </p:cNvSpPr>
            <p:nvPr/>
          </p:nvSpPr>
          <p:spPr bwMode="auto">
            <a:xfrm>
              <a:off x="4967288" y="5048250"/>
              <a:ext cx="200025" cy="203200"/>
            </a:xfrm>
            <a:custGeom>
              <a:avLst/>
              <a:gdLst>
                <a:gd name="T0" fmla="*/ 83 w 88"/>
                <a:gd name="T1" fmla="*/ 40 h 89"/>
                <a:gd name="T2" fmla="*/ 49 w 88"/>
                <a:gd name="T3" fmla="*/ 40 h 89"/>
                <a:gd name="T4" fmla="*/ 49 w 88"/>
                <a:gd name="T5" fmla="*/ 5 h 89"/>
                <a:gd name="T6" fmla="*/ 44 w 88"/>
                <a:gd name="T7" fmla="*/ 0 h 89"/>
                <a:gd name="T8" fmla="*/ 39 w 88"/>
                <a:gd name="T9" fmla="*/ 5 h 89"/>
                <a:gd name="T10" fmla="*/ 39 w 88"/>
                <a:gd name="T11" fmla="*/ 40 h 89"/>
                <a:gd name="T12" fmla="*/ 4 w 88"/>
                <a:gd name="T13" fmla="*/ 40 h 89"/>
                <a:gd name="T14" fmla="*/ 0 w 88"/>
                <a:gd name="T15" fmla="*/ 45 h 89"/>
                <a:gd name="T16" fmla="*/ 4 w 88"/>
                <a:gd name="T17" fmla="*/ 49 h 89"/>
                <a:gd name="T18" fmla="*/ 39 w 88"/>
                <a:gd name="T19" fmla="*/ 49 h 89"/>
                <a:gd name="T20" fmla="*/ 39 w 88"/>
                <a:gd name="T21" fmla="*/ 84 h 89"/>
                <a:gd name="T22" fmla="*/ 44 w 88"/>
                <a:gd name="T23" fmla="*/ 89 h 89"/>
                <a:gd name="T24" fmla="*/ 49 w 88"/>
                <a:gd name="T25" fmla="*/ 84 h 89"/>
                <a:gd name="T26" fmla="*/ 49 w 88"/>
                <a:gd name="T27" fmla="*/ 49 h 89"/>
                <a:gd name="T28" fmla="*/ 83 w 88"/>
                <a:gd name="T29" fmla="*/ 49 h 89"/>
                <a:gd name="T30" fmla="*/ 88 w 88"/>
                <a:gd name="T31" fmla="*/ 45 h 89"/>
                <a:gd name="T32" fmla="*/ 83 w 88"/>
                <a:gd name="T33" fmla="*/ 4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3" y="40"/>
                  </a:moveTo>
                  <a:cubicBezTo>
                    <a:pt x="49" y="40"/>
                    <a:pt x="49" y="40"/>
                    <a:pt x="49" y="40"/>
                  </a:cubicBezTo>
                  <a:cubicBezTo>
                    <a:pt x="49" y="5"/>
                    <a:pt x="49" y="5"/>
                    <a:pt x="49" y="5"/>
                  </a:cubicBezTo>
                  <a:cubicBezTo>
                    <a:pt x="49" y="3"/>
                    <a:pt x="47" y="0"/>
                    <a:pt x="44" y="0"/>
                  </a:cubicBezTo>
                  <a:cubicBezTo>
                    <a:pt x="41" y="0"/>
                    <a:pt x="39" y="3"/>
                    <a:pt x="39" y="5"/>
                  </a:cubicBezTo>
                  <a:cubicBezTo>
                    <a:pt x="39" y="40"/>
                    <a:pt x="39" y="40"/>
                    <a:pt x="39" y="40"/>
                  </a:cubicBezTo>
                  <a:cubicBezTo>
                    <a:pt x="4" y="40"/>
                    <a:pt x="4" y="40"/>
                    <a:pt x="4" y="40"/>
                  </a:cubicBezTo>
                  <a:cubicBezTo>
                    <a:pt x="2" y="40"/>
                    <a:pt x="0" y="42"/>
                    <a:pt x="0" y="45"/>
                  </a:cubicBezTo>
                  <a:cubicBezTo>
                    <a:pt x="0" y="47"/>
                    <a:pt x="2" y="49"/>
                    <a:pt x="4" y="49"/>
                  </a:cubicBezTo>
                  <a:cubicBezTo>
                    <a:pt x="39" y="49"/>
                    <a:pt x="39" y="49"/>
                    <a:pt x="39" y="49"/>
                  </a:cubicBezTo>
                  <a:cubicBezTo>
                    <a:pt x="39" y="84"/>
                    <a:pt x="39" y="84"/>
                    <a:pt x="39" y="84"/>
                  </a:cubicBezTo>
                  <a:cubicBezTo>
                    <a:pt x="39" y="87"/>
                    <a:pt x="41" y="89"/>
                    <a:pt x="44" y="89"/>
                  </a:cubicBezTo>
                  <a:cubicBezTo>
                    <a:pt x="47" y="89"/>
                    <a:pt x="49" y="87"/>
                    <a:pt x="49" y="84"/>
                  </a:cubicBezTo>
                  <a:cubicBezTo>
                    <a:pt x="49" y="49"/>
                    <a:pt x="49" y="49"/>
                    <a:pt x="49" y="49"/>
                  </a:cubicBezTo>
                  <a:cubicBezTo>
                    <a:pt x="83" y="49"/>
                    <a:pt x="83" y="49"/>
                    <a:pt x="83" y="49"/>
                  </a:cubicBezTo>
                  <a:cubicBezTo>
                    <a:pt x="86" y="49"/>
                    <a:pt x="88" y="47"/>
                    <a:pt x="88" y="45"/>
                  </a:cubicBezTo>
                  <a:cubicBezTo>
                    <a:pt x="88" y="42"/>
                    <a:pt x="86" y="40"/>
                    <a:pt x="83" y="40"/>
                  </a:cubicBezTo>
                  <a:close/>
                </a:path>
              </a:pathLst>
            </a:custGeom>
            <a:solidFill>
              <a:schemeClr val="accent1"/>
            </a:solidFill>
            <a:ln w="12700">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grpSp>
      <p:grpSp>
        <p:nvGrpSpPr>
          <p:cNvPr id="80" name="General_Border_102">
            <a:extLst>
              <a:ext uri="{FF2B5EF4-FFF2-40B4-BE49-F238E27FC236}">
                <a16:creationId xmlns:a16="http://schemas.microsoft.com/office/drawing/2014/main" id="{B2710E79-38EC-4404-9C16-E8270A7DB8DA}"/>
              </a:ext>
            </a:extLst>
          </p:cNvPr>
          <p:cNvGrpSpPr>
            <a:grpSpLocks noChangeAspect="1"/>
          </p:cNvGrpSpPr>
          <p:nvPr/>
        </p:nvGrpSpPr>
        <p:grpSpPr bwMode="auto">
          <a:xfrm>
            <a:off x="10023861" y="2904149"/>
            <a:ext cx="337601" cy="337601"/>
            <a:chOff x="7354" y="1520"/>
            <a:chExt cx="340" cy="340"/>
          </a:xfrm>
          <a:solidFill>
            <a:srgbClr val="046A38"/>
          </a:solidFill>
        </p:grpSpPr>
        <p:sp>
          <p:nvSpPr>
            <p:cNvPr id="81" name="Freeform 388">
              <a:extLst>
                <a:ext uri="{FF2B5EF4-FFF2-40B4-BE49-F238E27FC236}">
                  <a16:creationId xmlns:a16="http://schemas.microsoft.com/office/drawing/2014/main" id="{33118ED6-9AFB-4B7E-8E4E-CD5A59E8B60A}"/>
                </a:ext>
              </a:extLst>
            </p:cNvPr>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sp>
          <p:nvSpPr>
            <p:cNvPr id="82" name="Freeform 389">
              <a:extLst>
                <a:ext uri="{FF2B5EF4-FFF2-40B4-BE49-F238E27FC236}">
                  <a16:creationId xmlns:a16="http://schemas.microsoft.com/office/drawing/2014/main" id="{1C2E55A2-0C3F-455D-97CE-05202D04B2E2}"/>
                </a:ext>
              </a:extLst>
            </p:cNvPr>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grpSp>
      <p:grpSp>
        <p:nvGrpSpPr>
          <p:cNvPr id="83" name="General_Border_113">
            <a:extLst>
              <a:ext uri="{FF2B5EF4-FFF2-40B4-BE49-F238E27FC236}">
                <a16:creationId xmlns:a16="http://schemas.microsoft.com/office/drawing/2014/main" id="{B4A23118-0ECD-4926-A5D0-9A2F84E75962}"/>
              </a:ext>
            </a:extLst>
          </p:cNvPr>
          <p:cNvGrpSpPr>
            <a:grpSpLocks noChangeAspect="1"/>
          </p:cNvGrpSpPr>
          <p:nvPr/>
        </p:nvGrpSpPr>
        <p:grpSpPr bwMode="auto">
          <a:xfrm>
            <a:off x="3604009" y="2823362"/>
            <a:ext cx="324148" cy="324148"/>
            <a:chOff x="2732" y="2698"/>
            <a:chExt cx="340" cy="340"/>
          </a:xfrm>
          <a:solidFill>
            <a:schemeClr val="bg2"/>
          </a:solidFill>
        </p:grpSpPr>
        <p:sp>
          <p:nvSpPr>
            <p:cNvPr id="84" name="Freeform 760">
              <a:extLst>
                <a:ext uri="{FF2B5EF4-FFF2-40B4-BE49-F238E27FC236}">
                  <a16:creationId xmlns:a16="http://schemas.microsoft.com/office/drawing/2014/main" id="{0049593C-EFB1-496F-A3EF-0C47E9D4598A}"/>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sp>
          <p:nvSpPr>
            <p:cNvPr id="85" name="Freeform 761">
              <a:extLst>
                <a:ext uri="{FF2B5EF4-FFF2-40B4-BE49-F238E27FC236}">
                  <a16:creationId xmlns:a16="http://schemas.microsoft.com/office/drawing/2014/main" id="{18A629D2-428F-4894-AB06-0FB1E7F40EA6}"/>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grpSp>
      <p:grpSp>
        <p:nvGrpSpPr>
          <p:cNvPr id="86" name="General_Border_33">
            <a:extLst>
              <a:ext uri="{FF2B5EF4-FFF2-40B4-BE49-F238E27FC236}">
                <a16:creationId xmlns:a16="http://schemas.microsoft.com/office/drawing/2014/main" id="{8FB05796-3D8E-4B63-843F-FE0356534DAD}"/>
              </a:ext>
            </a:extLst>
          </p:cNvPr>
          <p:cNvGrpSpPr>
            <a:grpSpLocks noChangeAspect="1"/>
          </p:cNvGrpSpPr>
          <p:nvPr/>
        </p:nvGrpSpPr>
        <p:grpSpPr bwMode="auto">
          <a:xfrm>
            <a:off x="3604009" y="3212095"/>
            <a:ext cx="324148" cy="324148"/>
            <a:chOff x="4220" y="1197"/>
            <a:chExt cx="340" cy="340"/>
          </a:xfrm>
          <a:solidFill>
            <a:schemeClr val="bg2"/>
          </a:solidFill>
        </p:grpSpPr>
        <p:sp>
          <p:nvSpPr>
            <p:cNvPr id="87" name="Freeform 337">
              <a:extLst>
                <a:ext uri="{FF2B5EF4-FFF2-40B4-BE49-F238E27FC236}">
                  <a16:creationId xmlns:a16="http://schemas.microsoft.com/office/drawing/2014/main" id="{EF5C1C4D-5B96-496C-9842-74921456B44F}"/>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sp>
          <p:nvSpPr>
            <p:cNvPr id="88" name="Freeform 338">
              <a:extLst>
                <a:ext uri="{FF2B5EF4-FFF2-40B4-BE49-F238E27FC236}">
                  <a16:creationId xmlns:a16="http://schemas.microsoft.com/office/drawing/2014/main" id="{C209D0E5-9113-48A6-8D6B-6A7CED360580}"/>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sp>
          <p:nvSpPr>
            <p:cNvPr id="89" name="Freeform 339">
              <a:extLst>
                <a:ext uri="{FF2B5EF4-FFF2-40B4-BE49-F238E27FC236}">
                  <a16:creationId xmlns:a16="http://schemas.microsoft.com/office/drawing/2014/main" id="{80C1FEA1-8CF9-44F1-B8C5-4AEBBF04F77B}"/>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sp>
          <p:nvSpPr>
            <p:cNvPr id="90" name="Freeform 340">
              <a:extLst>
                <a:ext uri="{FF2B5EF4-FFF2-40B4-BE49-F238E27FC236}">
                  <a16:creationId xmlns:a16="http://schemas.microsoft.com/office/drawing/2014/main" id="{A406F00E-9AD6-4451-9723-61267F21C4F7}"/>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sp>
          <p:nvSpPr>
            <p:cNvPr id="91" name="Freeform 341">
              <a:extLst>
                <a:ext uri="{FF2B5EF4-FFF2-40B4-BE49-F238E27FC236}">
                  <a16:creationId xmlns:a16="http://schemas.microsoft.com/office/drawing/2014/main" id="{34CB5D17-DC9E-4C93-91F2-947738956627}"/>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sp>
          <p:nvSpPr>
            <p:cNvPr id="92" name="Freeform 342">
              <a:extLst>
                <a:ext uri="{FF2B5EF4-FFF2-40B4-BE49-F238E27FC236}">
                  <a16:creationId xmlns:a16="http://schemas.microsoft.com/office/drawing/2014/main" id="{0E7D970E-3CB3-471A-8F7F-B90DBBE61E8E}"/>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grpSp>
      <p:grpSp>
        <p:nvGrpSpPr>
          <p:cNvPr id="93" name="General_Border_86">
            <a:extLst>
              <a:ext uri="{FF2B5EF4-FFF2-40B4-BE49-F238E27FC236}">
                <a16:creationId xmlns:a16="http://schemas.microsoft.com/office/drawing/2014/main" id="{F92F2DE3-01D9-4F63-85B9-AB31DEFC1E61}"/>
              </a:ext>
            </a:extLst>
          </p:cNvPr>
          <p:cNvGrpSpPr>
            <a:grpSpLocks noChangeAspect="1"/>
          </p:cNvGrpSpPr>
          <p:nvPr/>
        </p:nvGrpSpPr>
        <p:grpSpPr bwMode="auto">
          <a:xfrm>
            <a:off x="3604009" y="3616991"/>
            <a:ext cx="324149" cy="324148"/>
            <a:chOff x="4725" y="1820"/>
            <a:chExt cx="340" cy="340"/>
          </a:xfrm>
          <a:solidFill>
            <a:schemeClr val="bg2"/>
          </a:solidFill>
        </p:grpSpPr>
        <p:sp>
          <p:nvSpPr>
            <p:cNvPr id="94" name="Freeform 434">
              <a:extLst>
                <a:ext uri="{FF2B5EF4-FFF2-40B4-BE49-F238E27FC236}">
                  <a16:creationId xmlns:a16="http://schemas.microsoft.com/office/drawing/2014/main" id="{9977343F-962F-4FAC-96D8-4314FBDC5F56}"/>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sp>
          <p:nvSpPr>
            <p:cNvPr id="95" name="Freeform 435">
              <a:extLst>
                <a:ext uri="{FF2B5EF4-FFF2-40B4-BE49-F238E27FC236}">
                  <a16:creationId xmlns:a16="http://schemas.microsoft.com/office/drawing/2014/main" id="{7A3455FC-7149-4FD9-9991-937441DF8B11}"/>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Tx/>
                <a:buFontTx/>
                <a:buNone/>
              </a:pPr>
              <a:endParaRPr lang="en-US" sz="1200" kern="1200">
                <a:solidFill>
                  <a:prstClr val="black"/>
                </a:solidFill>
                <a:latin typeface="+mj-lt"/>
                <a:ea typeface="+mn-ea"/>
                <a:cs typeface="+mn-cs"/>
              </a:endParaRPr>
            </a:p>
          </p:txBody>
        </p:sp>
      </p:grpSp>
      <p:sp>
        <p:nvSpPr>
          <p:cNvPr id="96" name="ZoneTexte 128">
            <a:extLst>
              <a:ext uri="{FF2B5EF4-FFF2-40B4-BE49-F238E27FC236}">
                <a16:creationId xmlns:a16="http://schemas.microsoft.com/office/drawing/2014/main" id="{E96F04D6-6689-4912-B054-4661903327C9}"/>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Phase 1</a:t>
            </a:r>
          </a:p>
          <a:p>
            <a:pPr marL="342900" indent="-342900">
              <a:lnSpc>
                <a:spcPct val="250000"/>
              </a:lnSpc>
              <a:spcBef>
                <a:spcPts val="600"/>
              </a:spcBef>
              <a:buSzPct val="100000"/>
              <a:buFont typeface="+mj-lt"/>
              <a:buAutoNum type="arabicPeriod"/>
            </a:pPr>
            <a:r>
              <a:rPr lang="fr-FR" sz="1100" dirty="0">
                <a:solidFill>
                  <a:srgbClr val="313131"/>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pic>
        <p:nvPicPr>
          <p:cNvPr id="58" name="Picture 2" descr="Eléments graphiques | INSA Lyon">
            <a:extLst>
              <a:ext uri="{FF2B5EF4-FFF2-40B4-BE49-F238E27FC236}">
                <a16:creationId xmlns:a16="http://schemas.microsoft.com/office/drawing/2014/main" id="{83971CD0-4957-409A-9FA6-8AAC23769E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7143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A1A39-FEA5-45F0-8A95-1A2DE8823E7B}"/>
              </a:ext>
            </a:extLst>
          </p:cNvPr>
          <p:cNvSpPr>
            <a:spLocks noGrp="1"/>
          </p:cNvSpPr>
          <p:nvPr>
            <p:ph type="title"/>
          </p:nvPr>
        </p:nvSpPr>
        <p:spPr>
          <a:xfrm>
            <a:off x="2381250" y="343190"/>
            <a:ext cx="6743700" cy="309820"/>
          </a:xfrm>
          <a:noFill/>
        </p:spPr>
        <p:txBody>
          <a:bodyPr/>
          <a:lstStyle/>
          <a:p>
            <a:r>
              <a:rPr lang="fr-FR" sz="2800" b="1" dirty="0">
                <a:solidFill>
                  <a:schemeClr val="accent1"/>
                </a:solidFill>
              </a:rPr>
              <a:t>Analyse de la gouvernance IAM</a:t>
            </a:r>
          </a:p>
        </p:txBody>
      </p:sp>
      <p:sp>
        <p:nvSpPr>
          <p:cNvPr id="5" name="Rectangle 4">
            <a:extLst>
              <a:ext uri="{FF2B5EF4-FFF2-40B4-BE49-F238E27FC236}">
                <a16:creationId xmlns:a16="http://schemas.microsoft.com/office/drawing/2014/main" id="{81E10ACE-8204-433C-A47C-CE8C4C39D474}"/>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7" name="Picture 4" descr="Deloitte Consulting LLP - Partner - Boomi">
            <a:extLst>
              <a:ext uri="{FF2B5EF4-FFF2-40B4-BE49-F238E27FC236}">
                <a16:creationId xmlns:a16="http://schemas.microsoft.com/office/drawing/2014/main" id="{981A2C2E-67FB-4095-850E-3C58285190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Chart 13">
            <a:extLst>
              <a:ext uri="{FF2B5EF4-FFF2-40B4-BE49-F238E27FC236}">
                <a16:creationId xmlns:a16="http://schemas.microsoft.com/office/drawing/2014/main" id="{2CDDFED9-2BC8-443E-8DB6-AF8CB15FAEDA}"/>
              </a:ext>
            </a:extLst>
          </p:cNvPr>
          <p:cNvGraphicFramePr/>
          <p:nvPr>
            <p:extLst>
              <p:ext uri="{D42A27DB-BD31-4B8C-83A1-F6EECF244321}">
                <p14:modId xmlns:p14="http://schemas.microsoft.com/office/powerpoint/2010/main" val="3007524271"/>
              </p:ext>
            </p:extLst>
          </p:nvPr>
        </p:nvGraphicFramePr>
        <p:xfrm>
          <a:off x="2851469" y="1735235"/>
          <a:ext cx="3628638" cy="3065611"/>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Box 27">
            <a:extLst>
              <a:ext uri="{FF2B5EF4-FFF2-40B4-BE49-F238E27FC236}">
                <a16:creationId xmlns:a16="http://schemas.microsoft.com/office/drawing/2014/main" id="{E99EDF87-C26E-456F-8CA0-799E92485C0E}"/>
              </a:ext>
            </a:extLst>
          </p:cNvPr>
          <p:cNvSpPr txBox="1"/>
          <p:nvPr/>
        </p:nvSpPr>
        <p:spPr>
          <a:xfrm>
            <a:off x="4146489" y="1424206"/>
            <a:ext cx="1235135" cy="276999"/>
          </a:xfrm>
          <a:prstGeom prst="rect">
            <a:avLst/>
          </a:prstGeom>
          <a:noFill/>
        </p:spPr>
        <p:txBody>
          <a:bodyPr wrap="square" rtlCol="0">
            <a:spAutoFit/>
          </a:bodyPr>
          <a:lstStyle/>
          <a:p>
            <a:pPr algn="ctr"/>
            <a:r>
              <a:rPr lang="fr-FR" sz="1200" b="1" spc="300" dirty="0">
                <a:solidFill>
                  <a:srgbClr val="313131"/>
                </a:solidFill>
                <a:latin typeface="+mj-lt"/>
              </a:rPr>
              <a:t>RACI IAM</a:t>
            </a:r>
          </a:p>
        </p:txBody>
      </p:sp>
      <p:cxnSp>
        <p:nvCxnSpPr>
          <p:cNvPr id="29" name="Straight Connector 28">
            <a:extLst>
              <a:ext uri="{FF2B5EF4-FFF2-40B4-BE49-F238E27FC236}">
                <a16:creationId xmlns:a16="http://schemas.microsoft.com/office/drawing/2014/main" id="{68BEBCDB-FD90-4A91-B9E2-C6A5658CA348}"/>
              </a:ext>
            </a:extLst>
          </p:cNvPr>
          <p:cNvCxnSpPr>
            <a:cxnSpLocks/>
          </p:cNvCxnSpPr>
          <p:nvPr/>
        </p:nvCxnSpPr>
        <p:spPr>
          <a:xfrm>
            <a:off x="2880225" y="1701205"/>
            <a:ext cx="3518461" cy="0"/>
          </a:xfrm>
          <a:prstGeom prst="line">
            <a:avLst/>
          </a:prstGeom>
          <a:ln w="12700">
            <a:solidFill>
              <a:srgbClr val="00205B"/>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844B5908-9AC0-4195-9F00-5EE952F3306A}"/>
              </a:ext>
            </a:extLst>
          </p:cNvPr>
          <p:cNvSpPr txBox="1"/>
          <p:nvPr/>
        </p:nvSpPr>
        <p:spPr>
          <a:xfrm>
            <a:off x="2933896" y="3905609"/>
            <a:ext cx="3424763" cy="1081771"/>
          </a:xfrm>
          <a:prstGeom prst="rect">
            <a:avLst/>
          </a:prstGeom>
          <a:noFill/>
        </p:spPr>
        <p:txBody>
          <a:bodyPr wrap="square" rtlCol="0">
            <a:spAutoFit/>
          </a:bodyPr>
          <a:lstStyle/>
          <a:p>
            <a:pPr algn="just">
              <a:lnSpc>
                <a:spcPct val="150000"/>
              </a:lnSpc>
              <a:buClrTx/>
              <a:defRPr/>
            </a:pPr>
            <a:r>
              <a:rPr lang="fr-FR" sz="1100" dirty="0">
                <a:latin typeface="+mj-lt"/>
                <a:ea typeface="+mn-ea"/>
                <a:cs typeface="Arial" panose="020B0604020202020204" pitchFamily="34" charset="0"/>
              </a:rPr>
              <a:t>27 des 61 activités du RACI IAM couvrent les sujets AD, cependant il y a 21 activités qui devraient être adaptées pour inclure la portée AD. </a:t>
            </a:r>
          </a:p>
          <a:p>
            <a:pPr algn="just">
              <a:lnSpc>
                <a:spcPct val="150000"/>
              </a:lnSpc>
              <a:buClrTx/>
              <a:defRPr/>
            </a:pPr>
            <a:r>
              <a:rPr lang="fr-FR" sz="1100" dirty="0">
                <a:latin typeface="+mj-lt"/>
                <a:ea typeface="+mn-ea"/>
                <a:cs typeface="Arial" panose="020B0604020202020204" pitchFamily="34" charset="0"/>
              </a:rPr>
              <a:t>13 activités ne sont pas applicables à Active Directory.</a:t>
            </a:r>
          </a:p>
        </p:txBody>
      </p:sp>
      <p:sp>
        <p:nvSpPr>
          <p:cNvPr id="41" name="Rectangle 40">
            <a:extLst>
              <a:ext uri="{FF2B5EF4-FFF2-40B4-BE49-F238E27FC236}">
                <a16:creationId xmlns:a16="http://schemas.microsoft.com/office/drawing/2014/main" id="{E4B29BCE-70B4-40BB-A379-CF705E527BBE}"/>
              </a:ext>
            </a:extLst>
          </p:cNvPr>
          <p:cNvSpPr/>
          <p:nvPr/>
        </p:nvSpPr>
        <p:spPr bwMode="gray">
          <a:xfrm>
            <a:off x="2733547" y="1410589"/>
            <a:ext cx="3825460" cy="4575565"/>
          </a:xfrm>
          <a:prstGeom prst="rect">
            <a:avLst/>
          </a:prstGeom>
          <a:noFill/>
          <a:ln w="9525"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GB" b="1" dirty="0">
              <a:solidFill>
                <a:schemeClr val="bg1"/>
              </a:solidFill>
            </a:endParaRPr>
          </a:p>
        </p:txBody>
      </p:sp>
      <p:grpSp>
        <p:nvGrpSpPr>
          <p:cNvPr id="42" name="Group 41">
            <a:extLst>
              <a:ext uri="{FF2B5EF4-FFF2-40B4-BE49-F238E27FC236}">
                <a16:creationId xmlns:a16="http://schemas.microsoft.com/office/drawing/2014/main" id="{4DB7841D-3F82-4A2F-AC23-8D267D13B361}"/>
              </a:ext>
            </a:extLst>
          </p:cNvPr>
          <p:cNvGrpSpPr/>
          <p:nvPr/>
        </p:nvGrpSpPr>
        <p:grpSpPr>
          <a:xfrm>
            <a:off x="2880225" y="2048156"/>
            <a:ext cx="1698552" cy="230832"/>
            <a:chOff x="-4271211" y="1705221"/>
            <a:chExt cx="1698552" cy="230832"/>
          </a:xfrm>
        </p:grpSpPr>
        <p:sp>
          <p:nvSpPr>
            <p:cNvPr id="43" name="Rectangle 42">
              <a:extLst>
                <a:ext uri="{FF2B5EF4-FFF2-40B4-BE49-F238E27FC236}">
                  <a16:creationId xmlns:a16="http://schemas.microsoft.com/office/drawing/2014/main" id="{128725B2-8815-4965-B264-1DE4B59AAB64}"/>
                </a:ext>
              </a:extLst>
            </p:cNvPr>
            <p:cNvSpPr/>
            <p:nvPr/>
          </p:nvSpPr>
          <p:spPr>
            <a:xfrm>
              <a:off x="-4271211" y="1746026"/>
              <a:ext cx="180471" cy="1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44" name="TextBox 43">
              <a:extLst>
                <a:ext uri="{FF2B5EF4-FFF2-40B4-BE49-F238E27FC236}">
                  <a16:creationId xmlns:a16="http://schemas.microsoft.com/office/drawing/2014/main" id="{D8DA259C-ABA1-4055-8B8A-29A118A21CD8}"/>
                </a:ext>
              </a:extLst>
            </p:cNvPr>
            <p:cNvSpPr txBox="1"/>
            <p:nvPr/>
          </p:nvSpPr>
          <p:spPr>
            <a:xfrm>
              <a:off x="-4058963" y="1705221"/>
              <a:ext cx="1486304" cy="230832"/>
            </a:xfrm>
            <a:prstGeom prst="rect">
              <a:avLst/>
            </a:prstGeom>
            <a:noFill/>
          </p:spPr>
          <p:txBody>
            <a:bodyPr wrap="square" rtlCol="0">
              <a:spAutoFit/>
            </a:bodyPr>
            <a:lstStyle/>
            <a:p>
              <a:r>
                <a:rPr lang="fr-FR" sz="900" dirty="0"/>
                <a:t>Doit être crée pour l‘AD</a:t>
              </a:r>
            </a:p>
          </p:txBody>
        </p:sp>
      </p:grpSp>
      <p:grpSp>
        <p:nvGrpSpPr>
          <p:cNvPr id="45" name="Group 44">
            <a:extLst>
              <a:ext uri="{FF2B5EF4-FFF2-40B4-BE49-F238E27FC236}">
                <a16:creationId xmlns:a16="http://schemas.microsoft.com/office/drawing/2014/main" id="{4BBFBE85-90C9-4A2A-8815-60DA8580E93D}"/>
              </a:ext>
            </a:extLst>
          </p:cNvPr>
          <p:cNvGrpSpPr/>
          <p:nvPr/>
        </p:nvGrpSpPr>
        <p:grpSpPr>
          <a:xfrm>
            <a:off x="2880225" y="2413183"/>
            <a:ext cx="1698552" cy="230832"/>
            <a:chOff x="-4271211" y="2192435"/>
            <a:chExt cx="1698552" cy="230832"/>
          </a:xfrm>
        </p:grpSpPr>
        <p:sp>
          <p:nvSpPr>
            <p:cNvPr id="46" name="Rectangle 45">
              <a:extLst>
                <a:ext uri="{FF2B5EF4-FFF2-40B4-BE49-F238E27FC236}">
                  <a16:creationId xmlns:a16="http://schemas.microsoft.com/office/drawing/2014/main" id="{0EAB6798-3BEB-4E33-B255-EF43325F5CE9}"/>
                </a:ext>
              </a:extLst>
            </p:cNvPr>
            <p:cNvSpPr/>
            <p:nvPr/>
          </p:nvSpPr>
          <p:spPr>
            <a:xfrm>
              <a:off x="-4271211" y="2229393"/>
              <a:ext cx="180471" cy="18000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7" name="TextBox 46">
              <a:extLst>
                <a:ext uri="{FF2B5EF4-FFF2-40B4-BE49-F238E27FC236}">
                  <a16:creationId xmlns:a16="http://schemas.microsoft.com/office/drawing/2014/main" id="{28CC0846-ED49-4EF0-A67D-B74AE8BE8815}"/>
                </a:ext>
              </a:extLst>
            </p:cNvPr>
            <p:cNvSpPr txBox="1"/>
            <p:nvPr/>
          </p:nvSpPr>
          <p:spPr>
            <a:xfrm>
              <a:off x="-4058963" y="2192435"/>
              <a:ext cx="1486304" cy="230832"/>
            </a:xfrm>
            <a:prstGeom prst="rect">
              <a:avLst/>
            </a:prstGeom>
            <a:noFill/>
          </p:spPr>
          <p:txBody>
            <a:bodyPr wrap="square" rtlCol="0">
              <a:spAutoFit/>
            </a:bodyPr>
            <a:lstStyle/>
            <a:p>
              <a:r>
                <a:rPr lang="fr-FR" sz="900" dirty="0"/>
                <a:t>Couvre déjà les besoins AD</a:t>
              </a:r>
            </a:p>
          </p:txBody>
        </p:sp>
      </p:grpSp>
      <p:grpSp>
        <p:nvGrpSpPr>
          <p:cNvPr id="48" name="Group 47">
            <a:extLst>
              <a:ext uri="{FF2B5EF4-FFF2-40B4-BE49-F238E27FC236}">
                <a16:creationId xmlns:a16="http://schemas.microsoft.com/office/drawing/2014/main" id="{843A4B10-1823-43AE-AD07-CED05BF1E17D}"/>
              </a:ext>
            </a:extLst>
          </p:cNvPr>
          <p:cNvGrpSpPr/>
          <p:nvPr/>
        </p:nvGrpSpPr>
        <p:grpSpPr>
          <a:xfrm>
            <a:off x="2880225" y="2770516"/>
            <a:ext cx="1505306" cy="230832"/>
            <a:chOff x="-4271211" y="2653537"/>
            <a:chExt cx="1505306" cy="230832"/>
          </a:xfrm>
        </p:grpSpPr>
        <p:sp>
          <p:nvSpPr>
            <p:cNvPr id="49" name="Rectangle 48">
              <a:extLst>
                <a:ext uri="{FF2B5EF4-FFF2-40B4-BE49-F238E27FC236}">
                  <a16:creationId xmlns:a16="http://schemas.microsoft.com/office/drawing/2014/main" id="{3E901F0D-6F34-4E18-A5DC-1AC07CAEEE43}"/>
                </a:ext>
              </a:extLst>
            </p:cNvPr>
            <p:cNvSpPr/>
            <p:nvPr/>
          </p:nvSpPr>
          <p:spPr>
            <a:xfrm>
              <a:off x="-4271211" y="2694342"/>
              <a:ext cx="180471" cy="180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0" name="TextBox 49">
              <a:extLst>
                <a:ext uri="{FF2B5EF4-FFF2-40B4-BE49-F238E27FC236}">
                  <a16:creationId xmlns:a16="http://schemas.microsoft.com/office/drawing/2014/main" id="{BD763CD9-9DA0-4A08-9522-6EC477BD6F54}"/>
                </a:ext>
              </a:extLst>
            </p:cNvPr>
            <p:cNvSpPr txBox="1"/>
            <p:nvPr/>
          </p:nvSpPr>
          <p:spPr>
            <a:xfrm>
              <a:off x="-4058963" y="2653537"/>
              <a:ext cx="1293058" cy="230832"/>
            </a:xfrm>
            <a:prstGeom prst="rect">
              <a:avLst/>
            </a:prstGeom>
            <a:noFill/>
          </p:spPr>
          <p:txBody>
            <a:bodyPr wrap="square" rtlCol="0">
              <a:spAutoFit/>
            </a:bodyPr>
            <a:lstStyle/>
            <a:p>
              <a:r>
                <a:rPr lang="fr-FR" sz="900" dirty="0"/>
                <a:t>Non Applicable à l’AD</a:t>
              </a:r>
            </a:p>
          </p:txBody>
        </p:sp>
      </p:grpSp>
      <p:sp>
        <p:nvSpPr>
          <p:cNvPr id="69" name="ZoneTexte 128">
            <a:extLst>
              <a:ext uri="{FF2B5EF4-FFF2-40B4-BE49-F238E27FC236}">
                <a16:creationId xmlns:a16="http://schemas.microsoft.com/office/drawing/2014/main" id="{7D878AFE-EC79-40DB-A93E-7FFD0760E57A}"/>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Phase 1</a:t>
            </a:r>
          </a:p>
          <a:p>
            <a:pPr marL="342900" indent="-342900">
              <a:lnSpc>
                <a:spcPct val="250000"/>
              </a:lnSpc>
              <a:spcBef>
                <a:spcPts val="600"/>
              </a:spcBef>
              <a:buSzPct val="100000"/>
              <a:buFont typeface="+mj-lt"/>
              <a:buAutoNum type="arabicPeriod"/>
            </a:pPr>
            <a:r>
              <a:rPr lang="fr-FR" sz="1100" dirty="0">
                <a:solidFill>
                  <a:srgbClr val="313131"/>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sp>
        <p:nvSpPr>
          <p:cNvPr id="70" name="TextBox 69">
            <a:extLst>
              <a:ext uri="{FF2B5EF4-FFF2-40B4-BE49-F238E27FC236}">
                <a16:creationId xmlns:a16="http://schemas.microsoft.com/office/drawing/2014/main" id="{1BF0588B-39FE-4B6C-BE51-C85698ED3866}"/>
              </a:ext>
            </a:extLst>
          </p:cNvPr>
          <p:cNvSpPr txBox="1"/>
          <p:nvPr/>
        </p:nvSpPr>
        <p:spPr>
          <a:xfrm>
            <a:off x="2933896" y="5073476"/>
            <a:ext cx="3424763" cy="826188"/>
          </a:xfrm>
          <a:prstGeom prst="rect">
            <a:avLst/>
          </a:prstGeom>
          <a:noFill/>
          <a:ln w="12700">
            <a:solidFill>
              <a:srgbClr val="0D8390"/>
            </a:solidFill>
          </a:ln>
        </p:spPr>
        <p:txBody>
          <a:bodyPr wrap="square" rtlCol="0">
            <a:spAutoFit/>
          </a:bodyPr>
          <a:lstStyle/>
          <a:p>
            <a:pPr algn="just">
              <a:lnSpc>
                <a:spcPct val="150000"/>
              </a:lnSpc>
              <a:buClrTx/>
              <a:defRPr/>
            </a:pPr>
            <a:r>
              <a:rPr lang="fr-FR" sz="1100" i="1" dirty="0">
                <a:latin typeface="+mj-lt"/>
                <a:cs typeface="Arial" panose="020B0604020202020204" pitchFamily="34" charset="0"/>
              </a:rPr>
              <a:t>E</a:t>
            </a:r>
            <a:r>
              <a:rPr lang="fr-FR" sz="1100" i="1" dirty="0">
                <a:latin typeface="+mj-lt"/>
                <a:ea typeface="+mn-ea"/>
                <a:cs typeface="Arial" panose="020B0604020202020204" pitchFamily="34" charset="0"/>
              </a:rPr>
              <a:t>xemple : </a:t>
            </a:r>
            <a:r>
              <a:rPr lang="fr-FR" sz="1100" i="1" dirty="0">
                <a:effectLst/>
                <a:ea typeface="Calibri" panose="020F0502020204030204" pitchFamily="34" charset="0"/>
                <a:cs typeface="Times New Roman" panose="02020603050405020304" pitchFamily="18" charset="0"/>
              </a:rPr>
              <a:t>« Veiller à ce que les projets IAM mettent en œuvre des solutions conformes aux exigences de sécurité »</a:t>
            </a:r>
            <a:r>
              <a:rPr lang="fr-FR" sz="1100" dirty="0">
                <a:effectLst/>
                <a:ea typeface="Calibri" panose="020F0502020204030204" pitchFamily="34" charset="0"/>
                <a:cs typeface="Times New Roman" panose="02020603050405020304" pitchFamily="18" charset="0"/>
              </a:rPr>
              <a:t> </a:t>
            </a:r>
            <a:endParaRPr lang="fr-FR" sz="1100" i="1" dirty="0">
              <a:ea typeface="+mn-ea"/>
              <a:cs typeface="Arial" panose="020B0604020202020204" pitchFamily="34" charset="0"/>
            </a:endParaRPr>
          </a:p>
        </p:txBody>
      </p:sp>
      <p:sp>
        <p:nvSpPr>
          <p:cNvPr id="71" name="Rectangle 70">
            <a:extLst>
              <a:ext uri="{FF2B5EF4-FFF2-40B4-BE49-F238E27FC236}">
                <a16:creationId xmlns:a16="http://schemas.microsoft.com/office/drawing/2014/main" id="{00F7754D-0952-490B-B928-D8D1C19B1A2B}"/>
              </a:ext>
            </a:extLst>
          </p:cNvPr>
          <p:cNvSpPr/>
          <p:nvPr/>
        </p:nvSpPr>
        <p:spPr bwMode="gray">
          <a:xfrm>
            <a:off x="7545723" y="1410589"/>
            <a:ext cx="3825460" cy="4575565"/>
          </a:xfrm>
          <a:prstGeom prst="rect">
            <a:avLst/>
          </a:prstGeom>
          <a:noFill/>
          <a:ln w="9525"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GB" b="1" dirty="0">
              <a:solidFill>
                <a:schemeClr val="bg1"/>
              </a:solidFill>
            </a:endParaRPr>
          </a:p>
        </p:txBody>
      </p:sp>
      <p:sp>
        <p:nvSpPr>
          <p:cNvPr id="72" name="TextBox 71">
            <a:extLst>
              <a:ext uri="{FF2B5EF4-FFF2-40B4-BE49-F238E27FC236}">
                <a16:creationId xmlns:a16="http://schemas.microsoft.com/office/drawing/2014/main" id="{C286552A-A7B0-47C8-BE99-6B893EA2E830}"/>
              </a:ext>
            </a:extLst>
          </p:cNvPr>
          <p:cNvSpPr txBox="1"/>
          <p:nvPr/>
        </p:nvSpPr>
        <p:spPr>
          <a:xfrm>
            <a:off x="8669436" y="1424206"/>
            <a:ext cx="1578035" cy="276999"/>
          </a:xfrm>
          <a:prstGeom prst="rect">
            <a:avLst/>
          </a:prstGeom>
          <a:noFill/>
        </p:spPr>
        <p:txBody>
          <a:bodyPr wrap="square" rtlCol="0">
            <a:spAutoFit/>
          </a:bodyPr>
          <a:lstStyle/>
          <a:p>
            <a:pPr algn="ctr"/>
            <a:r>
              <a:rPr lang="fr-FR" sz="1200" b="1" spc="300" dirty="0">
                <a:solidFill>
                  <a:srgbClr val="313131"/>
                </a:solidFill>
                <a:latin typeface="+mj-lt"/>
              </a:rPr>
              <a:t>Interviews</a:t>
            </a:r>
          </a:p>
        </p:txBody>
      </p:sp>
      <p:cxnSp>
        <p:nvCxnSpPr>
          <p:cNvPr id="73" name="Straight Connector 72">
            <a:extLst>
              <a:ext uri="{FF2B5EF4-FFF2-40B4-BE49-F238E27FC236}">
                <a16:creationId xmlns:a16="http://schemas.microsoft.com/office/drawing/2014/main" id="{69991995-CCFB-44A8-9C29-C290EEE48498}"/>
              </a:ext>
            </a:extLst>
          </p:cNvPr>
          <p:cNvCxnSpPr>
            <a:cxnSpLocks/>
          </p:cNvCxnSpPr>
          <p:nvPr/>
        </p:nvCxnSpPr>
        <p:spPr>
          <a:xfrm>
            <a:off x="7728450" y="1701205"/>
            <a:ext cx="3518461" cy="0"/>
          </a:xfrm>
          <a:prstGeom prst="line">
            <a:avLst/>
          </a:prstGeom>
          <a:ln w="12700">
            <a:solidFill>
              <a:srgbClr val="00205B"/>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88401CCF-94D9-4737-955E-E43776E155E2}"/>
              </a:ext>
            </a:extLst>
          </p:cNvPr>
          <p:cNvSpPr/>
          <p:nvPr/>
        </p:nvSpPr>
        <p:spPr bwMode="gray">
          <a:xfrm>
            <a:off x="7635375" y="2514543"/>
            <a:ext cx="1676400" cy="588165"/>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fr-FR" sz="1600" b="1" dirty="0">
                <a:solidFill>
                  <a:schemeClr val="accent6"/>
                </a:solidFill>
              </a:rPr>
              <a:t>20+</a:t>
            </a:r>
          </a:p>
          <a:p>
            <a:pPr algn="ctr">
              <a:lnSpc>
                <a:spcPct val="106000"/>
              </a:lnSpc>
              <a:buFont typeface="Wingdings 2" pitchFamily="18" charset="2"/>
              <a:buNone/>
            </a:pPr>
            <a:r>
              <a:rPr lang="fr-FR" sz="1050" dirty="0">
                <a:solidFill>
                  <a:srgbClr val="002060"/>
                </a:solidFill>
              </a:rPr>
              <a:t>Interviews conduites</a:t>
            </a:r>
          </a:p>
        </p:txBody>
      </p:sp>
      <p:sp>
        <p:nvSpPr>
          <p:cNvPr id="74" name="Rectangle 73">
            <a:extLst>
              <a:ext uri="{FF2B5EF4-FFF2-40B4-BE49-F238E27FC236}">
                <a16:creationId xmlns:a16="http://schemas.microsoft.com/office/drawing/2014/main" id="{8B492C1F-77C2-4137-B428-80674EEF3D6B}"/>
              </a:ext>
            </a:extLst>
          </p:cNvPr>
          <p:cNvSpPr/>
          <p:nvPr/>
        </p:nvSpPr>
        <p:spPr bwMode="gray">
          <a:xfrm>
            <a:off x="9606969" y="2514543"/>
            <a:ext cx="1676400" cy="588165"/>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fr-FR" sz="1600" b="1" dirty="0">
                <a:solidFill>
                  <a:schemeClr val="accent6"/>
                </a:solidFill>
              </a:rPr>
              <a:t>15+</a:t>
            </a:r>
          </a:p>
          <a:p>
            <a:pPr algn="ctr">
              <a:lnSpc>
                <a:spcPct val="106000"/>
              </a:lnSpc>
              <a:buFont typeface="Wingdings 2" pitchFamily="18" charset="2"/>
              <a:buNone/>
            </a:pPr>
            <a:r>
              <a:rPr lang="fr-FR" sz="1050" dirty="0">
                <a:solidFill>
                  <a:srgbClr val="002060"/>
                </a:solidFill>
              </a:rPr>
              <a:t>Équipes identifiés</a:t>
            </a:r>
          </a:p>
        </p:txBody>
      </p:sp>
      <p:sp>
        <p:nvSpPr>
          <p:cNvPr id="10" name="TextBox 9">
            <a:extLst>
              <a:ext uri="{FF2B5EF4-FFF2-40B4-BE49-F238E27FC236}">
                <a16:creationId xmlns:a16="http://schemas.microsoft.com/office/drawing/2014/main" id="{9A8B50FD-28E1-4CA6-AF69-DCF97EC9274E}"/>
              </a:ext>
            </a:extLst>
          </p:cNvPr>
          <p:cNvSpPr txBox="1"/>
          <p:nvPr/>
        </p:nvSpPr>
        <p:spPr>
          <a:xfrm>
            <a:off x="7769172" y="4347721"/>
            <a:ext cx="3611536" cy="1015663"/>
          </a:xfrm>
          <a:prstGeom prst="rect">
            <a:avLst/>
          </a:prstGeom>
          <a:noFill/>
        </p:spPr>
        <p:txBody>
          <a:bodyPr wrap="square" lIns="0" tIns="0" rIns="0" bIns="0" rtlCol="0">
            <a:spAutoFit/>
          </a:bodyPr>
          <a:lstStyle/>
          <a:p>
            <a:pPr marL="203200" indent="-203200">
              <a:spcBef>
                <a:spcPts val="600"/>
              </a:spcBef>
              <a:buSzPct val="100000"/>
              <a:buFont typeface="Arial"/>
              <a:buChar char="•"/>
            </a:pPr>
            <a:r>
              <a:rPr lang="fr-FR" sz="1400" dirty="0">
                <a:solidFill>
                  <a:srgbClr val="313131"/>
                </a:solidFill>
              </a:rPr>
              <a:t>Comment fonctionne ces instances ?</a:t>
            </a:r>
          </a:p>
          <a:p>
            <a:pPr marL="203200" indent="-203200">
              <a:spcBef>
                <a:spcPts val="600"/>
              </a:spcBef>
              <a:buSzPct val="100000"/>
              <a:buFont typeface="Arial"/>
              <a:buChar char="•"/>
            </a:pPr>
            <a:endParaRPr lang="fr-FR" sz="1400" dirty="0">
              <a:solidFill>
                <a:srgbClr val="313131"/>
              </a:solidFill>
            </a:endParaRPr>
          </a:p>
          <a:p>
            <a:pPr marL="203200" indent="-203200">
              <a:spcBef>
                <a:spcPts val="600"/>
              </a:spcBef>
              <a:buSzPct val="100000"/>
              <a:buFont typeface="Arial"/>
              <a:buChar char="•"/>
            </a:pPr>
            <a:r>
              <a:rPr lang="fr-FR" sz="1400" dirty="0">
                <a:solidFill>
                  <a:srgbClr val="313131"/>
                </a:solidFill>
              </a:rPr>
              <a:t>Quelles sont les équipe qui doivent participer aux instances AD ?</a:t>
            </a:r>
          </a:p>
        </p:txBody>
      </p:sp>
      <p:pic>
        <p:nvPicPr>
          <p:cNvPr id="6146" name="Picture 2">
            <a:extLst>
              <a:ext uri="{FF2B5EF4-FFF2-40B4-BE49-F238E27FC236}">
                <a16:creationId xmlns:a16="http://schemas.microsoft.com/office/drawing/2014/main" id="{2F39B71A-7A8B-4FB7-98B0-0DB2A28C8E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9294" y="3692207"/>
            <a:ext cx="447675" cy="44767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Eléments graphiques | INSA Lyon">
            <a:extLst>
              <a:ext uri="{FF2B5EF4-FFF2-40B4-BE49-F238E27FC236}">
                <a16:creationId xmlns:a16="http://schemas.microsoft.com/office/drawing/2014/main" id="{2CAF7DBB-9BE7-49EE-ACC8-95E4E660B4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715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A1A39-FEA5-45F0-8A95-1A2DE8823E7B}"/>
              </a:ext>
            </a:extLst>
          </p:cNvPr>
          <p:cNvSpPr>
            <a:spLocks noGrp="1"/>
          </p:cNvSpPr>
          <p:nvPr>
            <p:ph type="title"/>
          </p:nvPr>
        </p:nvSpPr>
        <p:spPr>
          <a:xfrm>
            <a:off x="2381250" y="343190"/>
            <a:ext cx="6743700" cy="309820"/>
          </a:xfrm>
        </p:spPr>
        <p:txBody>
          <a:bodyPr/>
          <a:lstStyle/>
          <a:p>
            <a:r>
              <a:rPr lang="fr-FR" sz="2800" b="1" dirty="0">
                <a:solidFill>
                  <a:schemeClr val="accent1"/>
                </a:solidFill>
              </a:rPr>
              <a:t>Livrables de la Gouvernance AD</a:t>
            </a:r>
          </a:p>
        </p:txBody>
      </p:sp>
      <p:sp>
        <p:nvSpPr>
          <p:cNvPr id="5" name="Rectangle 4">
            <a:extLst>
              <a:ext uri="{FF2B5EF4-FFF2-40B4-BE49-F238E27FC236}">
                <a16:creationId xmlns:a16="http://schemas.microsoft.com/office/drawing/2014/main" id="{81E10ACE-8204-433C-A47C-CE8C4C39D474}"/>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7" name="Picture 4" descr="Deloitte Consulting LLP - Partner - Boomi">
            <a:extLst>
              <a:ext uri="{FF2B5EF4-FFF2-40B4-BE49-F238E27FC236}">
                <a16:creationId xmlns:a16="http://schemas.microsoft.com/office/drawing/2014/main" id="{981A2C2E-67FB-4095-850E-3C58285190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sp>
        <p:nvSpPr>
          <p:cNvPr id="69" name="ZoneTexte 128">
            <a:extLst>
              <a:ext uri="{FF2B5EF4-FFF2-40B4-BE49-F238E27FC236}">
                <a16:creationId xmlns:a16="http://schemas.microsoft.com/office/drawing/2014/main" id="{7D878AFE-EC79-40DB-A93E-7FFD0760E57A}"/>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Phase 1</a:t>
            </a:r>
          </a:p>
          <a:p>
            <a:pPr marL="342900" indent="-342900">
              <a:lnSpc>
                <a:spcPct val="250000"/>
              </a:lnSpc>
              <a:spcBef>
                <a:spcPts val="600"/>
              </a:spcBef>
              <a:buSzPct val="100000"/>
              <a:buFont typeface="+mj-lt"/>
              <a:buAutoNum type="arabicPeriod"/>
            </a:pPr>
            <a:r>
              <a:rPr lang="fr-FR" sz="1100" dirty="0">
                <a:solidFill>
                  <a:srgbClr val="313131"/>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sp>
        <p:nvSpPr>
          <p:cNvPr id="3" name="Rectangle 2">
            <a:extLst>
              <a:ext uri="{FF2B5EF4-FFF2-40B4-BE49-F238E27FC236}">
                <a16:creationId xmlns:a16="http://schemas.microsoft.com/office/drawing/2014/main" id="{048260AF-4D32-4907-BC7C-FD44BDFAB2E2}"/>
              </a:ext>
            </a:extLst>
          </p:cNvPr>
          <p:cNvSpPr/>
          <p:nvPr/>
        </p:nvSpPr>
        <p:spPr bwMode="gray">
          <a:xfrm>
            <a:off x="3533775" y="884501"/>
            <a:ext cx="8137528" cy="2677849"/>
          </a:xfrm>
          <a:prstGeom prst="rect">
            <a:avLst/>
          </a:prstGeom>
          <a:solidFill>
            <a:schemeClr val="bg1"/>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30" name="Rectangle 29">
            <a:extLst>
              <a:ext uri="{FF2B5EF4-FFF2-40B4-BE49-F238E27FC236}">
                <a16:creationId xmlns:a16="http://schemas.microsoft.com/office/drawing/2014/main" id="{E4591D20-87F3-45F8-8221-DC0F878B862B}"/>
              </a:ext>
            </a:extLst>
          </p:cNvPr>
          <p:cNvSpPr/>
          <p:nvPr/>
        </p:nvSpPr>
        <p:spPr bwMode="gray">
          <a:xfrm>
            <a:off x="3533775" y="4162425"/>
            <a:ext cx="8137528" cy="2514600"/>
          </a:xfrm>
          <a:prstGeom prst="rect">
            <a:avLst/>
          </a:prstGeom>
          <a:solidFill>
            <a:schemeClr val="bg1"/>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cxnSp>
        <p:nvCxnSpPr>
          <p:cNvPr id="31" name="Straight Connector 30">
            <a:extLst>
              <a:ext uri="{FF2B5EF4-FFF2-40B4-BE49-F238E27FC236}">
                <a16:creationId xmlns:a16="http://schemas.microsoft.com/office/drawing/2014/main" id="{C83AC834-FBED-471E-BDBD-7E493AE3DBF8}"/>
              </a:ext>
            </a:extLst>
          </p:cNvPr>
          <p:cNvCxnSpPr/>
          <p:nvPr/>
        </p:nvCxnSpPr>
        <p:spPr>
          <a:xfrm>
            <a:off x="2381250" y="3736691"/>
            <a:ext cx="9496714" cy="0"/>
          </a:xfrm>
          <a:prstGeom prst="line">
            <a:avLst/>
          </a:prstGeom>
          <a:ln w="19050">
            <a:prstDash val="dash"/>
          </a:ln>
        </p:spPr>
        <p:style>
          <a:lnRef idx="1">
            <a:schemeClr val="accent6"/>
          </a:lnRef>
          <a:fillRef idx="0">
            <a:schemeClr val="accent6"/>
          </a:fillRef>
          <a:effectRef idx="0">
            <a:schemeClr val="accent6"/>
          </a:effectRef>
          <a:fontRef idx="minor">
            <a:schemeClr val="tx1"/>
          </a:fontRef>
        </p:style>
      </p:cxnSp>
      <p:sp>
        <p:nvSpPr>
          <p:cNvPr id="32" name="Rectangle 31">
            <a:extLst>
              <a:ext uri="{FF2B5EF4-FFF2-40B4-BE49-F238E27FC236}">
                <a16:creationId xmlns:a16="http://schemas.microsoft.com/office/drawing/2014/main" id="{79B17174-197B-41A5-ADA9-628DD9428785}"/>
              </a:ext>
            </a:extLst>
          </p:cNvPr>
          <p:cNvSpPr/>
          <p:nvPr/>
        </p:nvSpPr>
        <p:spPr bwMode="gray">
          <a:xfrm>
            <a:off x="5095263" y="4102140"/>
            <a:ext cx="4842105" cy="26185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bg1"/>
                </a:solidFill>
              </a:rPr>
              <a:t>Instances de gouvernance AD</a:t>
            </a:r>
          </a:p>
        </p:txBody>
      </p:sp>
      <p:pic>
        <p:nvPicPr>
          <p:cNvPr id="34" name="Picture 33">
            <a:extLst>
              <a:ext uri="{FF2B5EF4-FFF2-40B4-BE49-F238E27FC236}">
                <a16:creationId xmlns:a16="http://schemas.microsoft.com/office/drawing/2014/main" id="{84630D61-7912-47BB-912A-D33182A6B8FE}"/>
              </a:ext>
            </a:extLst>
          </p:cNvPr>
          <p:cNvPicPr/>
          <p:nvPr/>
        </p:nvPicPr>
        <p:blipFill>
          <a:blip r:embed="rId3"/>
          <a:stretch>
            <a:fillRect/>
          </a:stretch>
        </p:blipFill>
        <p:spPr>
          <a:xfrm>
            <a:off x="4619624" y="4488066"/>
            <a:ext cx="6010275" cy="2143291"/>
          </a:xfrm>
          <a:prstGeom prst="rect">
            <a:avLst/>
          </a:prstGeom>
        </p:spPr>
      </p:pic>
      <p:pic>
        <p:nvPicPr>
          <p:cNvPr id="9" name="Picture 8">
            <a:extLst>
              <a:ext uri="{FF2B5EF4-FFF2-40B4-BE49-F238E27FC236}">
                <a16:creationId xmlns:a16="http://schemas.microsoft.com/office/drawing/2014/main" id="{6621CA40-958D-43B3-AB41-A8AD8B0332F1}"/>
              </a:ext>
            </a:extLst>
          </p:cNvPr>
          <p:cNvPicPr>
            <a:picLocks noChangeAspect="1"/>
          </p:cNvPicPr>
          <p:nvPr/>
        </p:nvPicPr>
        <p:blipFill>
          <a:blip r:embed="rId4">
            <a:extLst>
              <a:ext uri="{BEBA8EAE-BF5A-486C-A8C5-ECC9F3942E4B}">
                <a14:imgProps xmlns:a14="http://schemas.microsoft.com/office/drawing/2010/main">
                  <a14:imgLayer r:embed="rId5">
                    <a14:imgEffect>
                      <a14:artisticBlur radius="5"/>
                    </a14:imgEffect>
                  </a14:imgLayer>
                </a14:imgProps>
              </a:ext>
            </a:extLst>
          </a:blip>
          <a:stretch>
            <a:fillRect/>
          </a:stretch>
        </p:blipFill>
        <p:spPr>
          <a:xfrm>
            <a:off x="4962524" y="1361626"/>
            <a:ext cx="5104289" cy="2090310"/>
          </a:xfrm>
          <a:prstGeom prst="rect">
            <a:avLst/>
          </a:prstGeom>
        </p:spPr>
      </p:pic>
      <p:sp>
        <p:nvSpPr>
          <p:cNvPr id="36" name="Rectangle 35">
            <a:extLst>
              <a:ext uri="{FF2B5EF4-FFF2-40B4-BE49-F238E27FC236}">
                <a16:creationId xmlns:a16="http://schemas.microsoft.com/office/drawing/2014/main" id="{74FADE06-23E8-431F-A8A6-2F75D17C82C8}"/>
              </a:ext>
            </a:extLst>
          </p:cNvPr>
          <p:cNvSpPr/>
          <p:nvPr/>
        </p:nvSpPr>
        <p:spPr bwMode="gray">
          <a:xfrm>
            <a:off x="5095263" y="960559"/>
            <a:ext cx="4842105" cy="26185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bg1"/>
                </a:solidFill>
              </a:rPr>
              <a:t>Matrice RACI</a:t>
            </a:r>
          </a:p>
        </p:txBody>
      </p:sp>
      <p:pic>
        <p:nvPicPr>
          <p:cNvPr id="15" name="Picture 2" descr="Eléments graphiques | INSA Lyon">
            <a:extLst>
              <a:ext uri="{FF2B5EF4-FFF2-40B4-BE49-F238E27FC236}">
                <a16:creationId xmlns:a16="http://schemas.microsoft.com/office/drawing/2014/main" id="{85F9CB27-996F-4EB1-9916-317EC40032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0861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A1A39-FEA5-45F0-8A95-1A2DE8823E7B}"/>
              </a:ext>
            </a:extLst>
          </p:cNvPr>
          <p:cNvSpPr>
            <a:spLocks noGrp="1"/>
          </p:cNvSpPr>
          <p:nvPr>
            <p:ph type="title"/>
          </p:nvPr>
        </p:nvSpPr>
        <p:spPr>
          <a:xfrm>
            <a:off x="2381250" y="343190"/>
            <a:ext cx="6743700" cy="309820"/>
          </a:xfrm>
        </p:spPr>
        <p:txBody>
          <a:bodyPr/>
          <a:lstStyle/>
          <a:p>
            <a:r>
              <a:rPr lang="fr-FR" dirty="0"/>
              <a:t>Livrables </a:t>
            </a:r>
          </a:p>
        </p:txBody>
      </p:sp>
      <p:grpSp>
        <p:nvGrpSpPr>
          <p:cNvPr id="4" name="Group 3">
            <a:extLst>
              <a:ext uri="{FF2B5EF4-FFF2-40B4-BE49-F238E27FC236}">
                <a16:creationId xmlns:a16="http://schemas.microsoft.com/office/drawing/2014/main" id="{53882DFE-8A8B-4EA2-8E53-18DC598F9180}"/>
              </a:ext>
            </a:extLst>
          </p:cNvPr>
          <p:cNvGrpSpPr/>
          <p:nvPr/>
        </p:nvGrpSpPr>
        <p:grpSpPr>
          <a:xfrm>
            <a:off x="0" y="0"/>
            <a:ext cx="1976582" cy="6858000"/>
            <a:chOff x="0" y="0"/>
            <a:chExt cx="1976582" cy="6858000"/>
          </a:xfrm>
        </p:grpSpPr>
        <p:sp>
          <p:nvSpPr>
            <p:cNvPr id="5" name="Rectangle 4">
              <a:extLst>
                <a:ext uri="{FF2B5EF4-FFF2-40B4-BE49-F238E27FC236}">
                  <a16:creationId xmlns:a16="http://schemas.microsoft.com/office/drawing/2014/main" id="{81E10ACE-8204-433C-A47C-CE8C4C39D474}"/>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6" name="Picture 2" descr="Eléments graphiques | INSA Lyon">
              <a:extLst>
                <a:ext uri="{FF2B5EF4-FFF2-40B4-BE49-F238E27FC236}">
                  <a16:creationId xmlns:a16="http://schemas.microsoft.com/office/drawing/2014/main" id="{47F3CF94-A622-43E9-B30E-55A33040A8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397" y="249819"/>
              <a:ext cx="1708166" cy="49154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Deloitte Consulting LLP - Partner - Boomi">
              <a:extLst>
                <a:ext uri="{FF2B5EF4-FFF2-40B4-BE49-F238E27FC236}">
                  <a16:creationId xmlns:a16="http://schemas.microsoft.com/office/drawing/2014/main" id="{981A2C2E-67FB-4095-850E-3C58285190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ZoneTexte 128">
            <a:extLst>
              <a:ext uri="{FF2B5EF4-FFF2-40B4-BE49-F238E27FC236}">
                <a16:creationId xmlns:a16="http://schemas.microsoft.com/office/drawing/2014/main" id="{4818DEB8-EE23-4ED9-803D-DCCA250B0B49}"/>
              </a:ext>
            </a:extLst>
          </p:cNvPr>
          <p:cNvSpPr txBox="1"/>
          <p:nvPr/>
        </p:nvSpPr>
        <p:spPr>
          <a:xfrm>
            <a:off x="258925" y="2011213"/>
            <a:ext cx="1458733" cy="3855607"/>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Introduction</a:t>
            </a:r>
          </a:p>
          <a:p>
            <a:pPr marL="342900" indent="-342900">
              <a:lnSpc>
                <a:spcPct val="250000"/>
              </a:lnSpc>
              <a:spcBef>
                <a:spcPts val="600"/>
              </a:spcBef>
              <a:buSzPct val="100000"/>
              <a:buFont typeface="+mj-lt"/>
              <a:buAutoNum type="arabicPeriod"/>
            </a:pPr>
            <a:r>
              <a:rPr lang="fr-FR" sz="1100" dirty="0">
                <a:solidFill>
                  <a:srgbClr val="313131"/>
                </a:solidFill>
              </a:rPr>
              <a:t>Mission</a:t>
            </a:r>
          </a:p>
          <a:p>
            <a:pPr marL="342900" indent="-342900">
              <a:lnSpc>
                <a:spcPct val="250000"/>
              </a:lnSpc>
              <a:spcBef>
                <a:spcPts val="600"/>
              </a:spcBef>
              <a:buSzPct val="100000"/>
              <a:buFont typeface="+mj-lt"/>
              <a:buAutoNum type="arabicPeriod"/>
            </a:pPr>
            <a:r>
              <a:rPr lang="fr-FR" sz="1100" dirty="0">
                <a:solidFill>
                  <a:srgbClr val="313131"/>
                </a:solidFill>
              </a:rPr>
              <a:t>Méthodologie</a:t>
            </a:r>
          </a:p>
          <a:p>
            <a:pPr marL="342900" indent="-342900">
              <a:lnSpc>
                <a:spcPct val="250000"/>
              </a:lnSpc>
              <a:spcBef>
                <a:spcPts val="600"/>
              </a:spcBef>
              <a:buSzPct val="100000"/>
              <a:buFont typeface="+mj-lt"/>
              <a:buAutoNum type="arabicPeriod"/>
            </a:pPr>
            <a:r>
              <a:rPr lang="fr-FR" sz="1100" dirty="0">
                <a:solidFill>
                  <a:srgbClr val="313131"/>
                </a:solidFill>
              </a:rPr>
              <a:t>Phase 1: Evaluation</a:t>
            </a:r>
          </a:p>
          <a:p>
            <a:pPr marL="342900" indent="-342900">
              <a:lnSpc>
                <a:spcPct val="250000"/>
              </a:lnSpc>
              <a:spcBef>
                <a:spcPts val="600"/>
              </a:spcBef>
              <a:buSzPct val="100000"/>
              <a:buFont typeface="+mj-lt"/>
              <a:buAutoNum type="arabicPeriod"/>
            </a:pPr>
            <a:r>
              <a:rPr lang="fr-FR" sz="1100" dirty="0">
                <a:solidFill>
                  <a:srgbClr val="313131"/>
                </a:solidFill>
              </a:rPr>
              <a:t>Phase 2: Définition</a:t>
            </a:r>
          </a:p>
          <a:p>
            <a:pPr marL="342900" indent="-342900">
              <a:lnSpc>
                <a:spcPct val="250000"/>
              </a:lnSpc>
              <a:spcBef>
                <a:spcPts val="600"/>
              </a:spcBef>
              <a:buSzPct val="100000"/>
              <a:buFont typeface="+mj-lt"/>
              <a:buAutoNum type="arabicPeriod"/>
            </a:pPr>
            <a:r>
              <a:rPr lang="fr-FR" sz="1100" dirty="0">
                <a:solidFill>
                  <a:srgbClr val="313131"/>
                </a:solidFill>
              </a:rPr>
              <a:t>Conclusion</a:t>
            </a:r>
          </a:p>
          <a:p>
            <a:pPr marL="342900" indent="-342900">
              <a:lnSpc>
                <a:spcPct val="250000"/>
              </a:lnSpc>
              <a:spcBef>
                <a:spcPts val="600"/>
              </a:spcBef>
              <a:buSzPct val="100000"/>
              <a:buFont typeface="+mj-lt"/>
              <a:buAutoNum type="arabicPeriod"/>
            </a:pPr>
            <a:r>
              <a:rPr lang="fr-FR" sz="1100" dirty="0">
                <a:solidFill>
                  <a:srgbClr val="313131"/>
                </a:solidFill>
              </a:rPr>
              <a:t>Annexe</a:t>
            </a:r>
          </a:p>
        </p:txBody>
      </p:sp>
      <p:pic>
        <p:nvPicPr>
          <p:cNvPr id="51" name="Picture 50">
            <a:extLst>
              <a:ext uri="{FF2B5EF4-FFF2-40B4-BE49-F238E27FC236}">
                <a16:creationId xmlns:a16="http://schemas.microsoft.com/office/drawing/2014/main" id="{BB2A7E76-885B-4AF6-9191-659B7798DF53}"/>
              </a:ext>
            </a:extLst>
          </p:cNvPr>
          <p:cNvPicPr/>
          <p:nvPr/>
        </p:nvPicPr>
        <p:blipFill>
          <a:blip r:embed="rId4"/>
          <a:stretch>
            <a:fillRect/>
          </a:stretch>
        </p:blipFill>
        <p:spPr>
          <a:xfrm>
            <a:off x="4443411" y="4056820"/>
            <a:ext cx="6396038" cy="2631858"/>
          </a:xfrm>
          <a:prstGeom prst="rect">
            <a:avLst/>
          </a:prstGeom>
        </p:spPr>
      </p:pic>
      <p:pic>
        <p:nvPicPr>
          <p:cNvPr id="9" name="Picture 8">
            <a:extLst>
              <a:ext uri="{FF2B5EF4-FFF2-40B4-BE49-F238E27FC236}">
                <a16:creationId xmlns:a16="http://schemas.microsoft.com/office/drawing/2014/main" id="{4D004221-56B7-42FC-BA2A-ECB11CCB022A}"/>
              </a:ext>
            </a:extLst>
          </p:cNvPr>
          <p:cNvPicPr>
            <a:picLocks noChangeAspect="1"/>
          </p:cNvPicPr>
          <p:nvPr/>
        </p:nvPicPr>
        <p:blipFill>
          <a:blip r:embed="rId5"/>
          <a:stretch>
            <a:fillRect/>
          </a:stretch>
        </p:blipFill>
        <p:spPr>
          <a:xfrm>
            <a:off x="4443411" y="1025742"/>
            <a:ext cx="6396037" cy="2631858"/>
          </a:xfrm>
          <a:prstGeom prst="rect">
            <a:avLst/>
          </a:prstGeom>
        </p:spPr>
      </p:pic>
      <p:sp>
        <p:nvSpPr>
          <p:cNvPr id="10" name="Rectangle 9">
            <a:extLst>
              <a:ext uri="{FF2B5EF4-FFF2-40B4-BE49-F238E27FC236}">
                <a16:creationId xmlns:a16="http://schemas.microsoft.com/office/drawing/2014/main" id="{6DB8A22F-48CB-415F-837B-752ACC8B9373}"/>
              </a:ext>
            </a:extLst>
          </p:cNvPr>
          <p:cNvSpPr/>
          <p:nvPr/>
        </p:nvSpPr>
        <p:spPr bwMode="gray">
          <a:xfrm>
            <a:off x="4267200" y="934426"/>
            <a:ext cx="6743700" cy="2840978"/>
          </a:xfrm>
          <a:prstGeom prst="rect">
            <a:avLst/>
          </a:prstGeom>
          <a:noFill/>
          <a:ln w="19050" algn="ctr">
            <a:solidFill>
              <a:srgbClr val="435E1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53" name="Rectangle 52">
            <a:extLst>
              <a:ext uri="{FF2B5EF4-FFF2-40B4-BE49-F238E27FC236}">
                <a16:creationId xmlns:a16="http://schemas.microsoft.com/office/drawing/2014/main" id="{89A4F149-6735-4C29-9C51-404FAFFDB60C}"/>
              </a:ext>
            </a:extLst>
          </p:cNvPr>
          <p:cNvSpPr/>
          <p:nvPr/>
        </p:nvSpPr>
        <p:spPr bwMode="gray">
          <a:xfrm>
            <a:off x="4267200" y="3938586"/>
            <a:ext cx="6743700" cy="2840978"/>
          </a:xfrm>
          <a:prstGeom prst="rect">
            <a:avLst/>
          </a:prstGeom>
          <a:noFill/>
          <a:ln w="19050" algn="ctr">
            <a:solidFill>
              <a:srgbClr val="435E1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54" name="Rectangle 53">
            <a:extLst>
              <a:ext uri="{FF2B5EF4-FFF2-40B4-BE49-F238E27FC236}">
                <a16:creationId xmlns:a16="http://schemas.microsoft.com/office/drawing/2014/main" id="{9860DAD6-2C7C-4876-9184-7230B73F05DA}"/>
              </a:ext>
            </a:extLst>
          </p:cNvPr>
          <p:cNvSpPr/>
          <p:nvPr/>
        </p:nvSpPr>
        <p:spPr bwMode="gray">
          <a:xfrm>
            <a:off x="3638550" y="934426"/>
            <a:ext cx="628650" cy="2840978"/>
          </a:xfrm>
          <a:prstGeom prst="rect">
            <a:avLst/>
          </a:prstGeom>
          <a:noFill/>
          <a:ln w="19050" algn="ctr">
            <a:solidFill>
              <a:srgbClr val="435E1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55" name="Rectangle 54">
            <a:extLst>
              <a:ext uri="{FF2B5EF4-FFF2-40B4-BE49-F238E27FC236}">
                <a16:creationId xmlns:a16="http://schemas.microsoft.com/office/drawing/2014/main" id="{E5C56113-B969-497F-AD0A-D911F5B396FB}"/>
              </a:ext>
            </a:extLst>
          </p:cNvPr>
          <p:cNvSpPr/>
          <p:nvPr/>
        </p:nvSpPr>
        <p:spPr bwMode="gray">
          <a:xfrm>
            <a:off x="3638550" y="3938586"/>
            <a:ext cx="628650" cy="2840978"/>
          </a:xfrm>
          <a:prstGeom prst="rect">
            <a:avLst/>
          </a:prstGeom>
          <a:noFill/>
          <a:ln w="19050" algn="ctr">
            <a:solidFill>
              <a:srgbClr val="435E1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56" name="Picture 55">
            <a:extLst>
              <a:ext uri="{FF2B5EF4-FFF2-40B4-BE49-F238E27FC236}">
                <a16:creationId xmlns:a16="http://schemas.microsoft.com/office/drawing/2014/main" id="{7E44845A-F435-473A-A3BE-B2F32B17BFF7}"/>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7" name="Text Placeholder 6">
            <a:extLst>
              <a:ext uri="{FF2B5EF4-FFF2-40B4-BE49-F238E27FC236}">
                <a16:creationId xmlns:a16="http://schemas.microsoft.com/office/drawing/2014/main" id="{FF3EE46B-CED6-4402-AB03-4B16B878E83C}"/>
              </a:ext>
            </a:extLst>
          </p:cNvPr>
          <p:cNvSpPr txBox="1">
            <a:spLocks/>
          </p:cNvSpPr>
          <p:nvPr/>
        </p:nvSpPr>
        <p:spPr>
          <a:xfrm>
            <a:off x="350981" y="3344276"/>
            <a:ext cx="6135543" cy="1296317"/>
          </a:xfrm>
          <a:prstGeom prst="rect">
            <a:avLst/>
          </a:prstGeom>
        </p:spPr>
        <p:txBody>
          <a:bodyPr wrap="square">
            <a:spAutoFit/>
          </a:bodyPr>
          <a:lstStyle>
            <a:lvl1pPr marL="0" indent="0" algn="l" defTabSz="1069215" rtl="0" eaLnBrk="1" latinLnBrk="0" hangingPunct="1">
              <a:lnSpc>
                <a:spcPts val="4340"/>
              </a:lnSpc>
              <a:spcBef>
                <a:spcPts val="0"/>
              </a:spcBef>
              <a:spcAft>
                <a:spcPts val="1169"/>
              </a:spcAft>
              <a:buSzPct val="100000"/>
              <a:buFontTx/>
              <a:buNone/>
              <a:defRPr sz="3200" b="0" i="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1069215" rtl="0" eaLnBrk="1" latinLnBrk="0" hangingPunct="1">
              <a:spcBef>
                <a:spcPts val="0"/>
              </a:spcBef>
              <a:spcAft>
                <a:spcPts val="1169"/>
              </a:spcAft>
              <a:buClrTx/>
              <a:buSzPct val="100000"/>
              <a:buFontTx/>
              <a:buNone/>
              <a:defRPr lang="en-US" sz="1270" b="1" kern="1200">
                <a:solidFill>
                  <a:schemeClr val="tx1"/>
                </a:solidFill>
                <a:latin typeface="+mj-lt"/>
                <a:ea typeface="+mn-ea"/>
                <a:cs typeface="Calibri Light" panose="020F0302020204030204" pitchFamily="34" charset="0"/>
              </a:defRPr>
            </a:lvl2pPr>
            <a:lvl3pPr marL="914400" indent="0" algn="l" defTabSz="1069215" rtl="0" eaLnBrk="1" latinLnBrk="0" hangingPunct="1">
              <a:spcBef>
                <a:spcPts val="0"/>
              </a:spcBef>
              <a:spcAft>
                <a:spcPts val="1169"/>
              </a:spcAft>
              <a:buClrTx/>
              <a:buSzPct val="100000"/>
              <a:buFontTx/>
              <a:buNone/>
              <a:defRPr lang="en-US" sz="1270" kern="1200">
                <a:solidFill>
                  <a:schemeClr val="tx1"/>
                </a:solidFill>
                <a:latin typeface="+mn-lt"/>
                <a:ea typeface="+mn-ea"/>
                <a:cs typeface="Calibri Light" panose="020F0302020204030204" pitchFamily="34" charset="0"/>
              </a:defRPr>
            </a:lvl3pPr>
            <a:lvl4pPr marL="1371600" indent="0" algn="l" defTabSz="1069215" rtl="0" eaLnBrk="1" latinLnBrk="0" hangingPunct="1">
              <a:spcBef>
                <a:spcPts val="0"/>
              </a:spcBef>
              <a:spcAft>
                <a:spcPts val="1169"/>
              </a:spcAft>
              <a:buClrTx/>
              <a:buSzPct val="100000"/>
              <a:buFontTx/>
              <a:buNone/>
              <a:defRPr lang="en-US" sz="1270" kern="1200" baseline="0">
                <a:solidFill>
                  <a:schemeClr val="tx1"/>
                </a:solidFill>
                <a:latin typeface="+mn-lt"/>
                <a:ea typeface="+mn-ea"/>
                <a:cs typeface="Calibri Light" panose="020F0302020204030204" pitchFamily="34" charset="0"/>
              </a:defRPr>
            </a:lvl4pPr>
            <a:lvl5pPr marL="1828800" indent="0" algn="l" defTabSz="933707" rtl="0" eaLnBrk="1" latinLnBrk="0" hangingPunct="1">
              <a:spcBef>
                <a:spcPts val="0"/>
              </a:spcBef>
              <a:spcAft>
                <a:spcPts val="1169"/>
              </a:spcAft>
              <a:buClrTx/>
              <a:buSzPct val="100000"/>
              <a:buFontTx/>
              <a:buNone/>
              <a:tabLst/>
              <a:defRPr lang="en-US" sz="1270" kern="1200" baseline="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r>
              <a:rPr lang="en-US" b="1" dirty="0">
                <a:latin typeface="Verdana" panose="020B0604030504040204" pitchFamily="34" charset="0"/>
                <a:ea typeface="Verdana" panose="020B0604030504040204" pitchFamily="34" charset="0"/>
              </a:rPr>
              <a:t>04 – Mission client</a:t>
            </a:r>
          </a:p>
          <a:p>
            <a:r>
              <a:rPr lang="en-US" b="1" dirty="0">
                <a:latin typeface="Verdana" panose="020B0604030504040204" pitchFamily="34" charset="0"/>
                <a:ea typeface="Verdana" panose="020B0604030504040204" pitchFamily="34" charset="0"/>
              </a:rPr>
              <a:t>Phase 2</a:t>
            </a:r>
          </a:p>
        </p:txBody>
      </p:sp>
    </p:spTree>
    <p:extLst>
      <p:ext uri="{BB962C8B-B14F-4D97-AF65-F5344CB8AC3E}">
        <p14:creationId xmlns:p14="http://schemas.microsoft.com/office/powerpoint/2010/main" val="41983884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a:extLst>
              <a:ext uri="{FF2B5EF4-FFF2-40B4-BE49-F238E27FC236}">
                <a16:creationId xmlns:a16="http://schemas.microsoft.com/office/drawing/2014/main" id="{2A76C83C-D61A-457F-BA56-08364545CBA2}"/>
              </a:ext>
            </a:extLst>
          </p:cNvPr>
          <p:cNvSpPr/>
          <p:nvPr/>
        </p:nvSpPr>
        <p:spPr bwMode="gray">
          <a:xfrm>
            <a:off x="3193887" y="5514300"/>
            <a:ext cx="7921788" cy="657610"/>
          </a:xfrm>
          <a:prstGeom prst="rect">
            <a:avLst/>
          </a:prstGeom>
          <a:ln w="6350">
            <a:solidFill>
              <a:srgbClr val="435E13"/>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01" name="Arrow: Chevron 100">
            <a:extLst>
              <a:ext uri="{FF2B5EF4-FFF2-40B4-BE49-F238E27FC236}">
                <a16:creationId xmlns:a16="http://schemas.microsoft.com/office/drawing/2014/main" id="{940BC556-0250-4B33-97B6-0C3D73A25000}"/>
              </a:ext>
            </a:extLst>
          </p:cNvPr>
          <p:cNvSpPr/>
          <p:nvPr/>
        </p:nvSpPr>
        <p:spPr bwMode="auto">
          <a:xfrm>
            <a:off x="3136736" y="1215771"/>
            <a:ext cx="7978939" cy="386004"/>
          </a:xfrm>
          <a:prstGeom prst="chevron">
            <a:avLst>
              <a:gd name="adj" fmla="val 29035"/>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bg1"/>
                </a:solidFill>
                <a:effectLst/>
              </a:rPr>
              <a:t>Collection de données</a:t>
            </a:r>
          </a:p>
        </p:txBody>
      </p:sp>
      <p:sp>
        <p:nvSpPr>
          <p:cNvPr id="68" name="TextBox 67">
            <a:extLst>
              <a:ext uri="{FF2B5EF4-FFF2-40B4-BE49-F238E27FC236}">
                <a16:creationId xmlns:a16="http://schemas.microsoft.com/office/drawing/2014/main" id="{C3039A1E-742D-494D-9BE8-DC656BDECABE}"/>
              </a:ext>
            </a:extLst>
          </p:cNvPr>
          <p:cNvSpPr txBox="1"/>
          <p:nvPr/>
        </p:nvSpPr>
        <p:spPr>
          <a:xfrm>
            <a:off x="3176726" y="1925510"/>
            <a:ext cx="7543843" cy="430887"/>
          </a:xfrm>
          <a:prstGeom prst="rect">
            <a:avLst/>
          </a:prstGeom>
          <a:noFill/>
          <a:ln>
            <a:noFill/>
            <a:prstDash val="dash"/>
          </a:ln>
        </p:spPr>
        <p:txBody>
          <a:bodyPr wrap="square" rtlCol="0">
            <a:spAutoFit/>
          </a:bodyPr>
          <a:lstStyle/>
          <a:p>
            <a:pPr marL="171450" indent="-171450" algn="just">
              <a:buFont typeface="Arial" panose="020B0604020202020204" pitchFamily="34" charset="0"/>
              <a:buChar char="•"/>
            </a:pPr>
            <a:r>
              <a:rPr lang="fr-FR" sz="1100" dirty="0">
                <a:cs typeface="Century Gothic"/>
              </a:rPr>
              <a:t>U</a:t>
            </a:r>
            <a:r>
              <a:rPr lang="fr-FR" sz="1100" kern="1200" dirty="0">
                <a:ea typeface="+mn-ea"/>
                <a:cs typeface="Century Gothic"/>
              </a:rPr>
              <a:t>ne liste de projets a été définie au cours de la mission précédente pour améliorer la maturité de l’AD</a:t>
            </a:r>
          </a:p>
          <a:p>
            <a:pPr marL="171450" indent="-171450" algn="just">
              <a:buFont typeface="Arial" panose="020B0604020202020204" pitchFamily="34" charset="0"/>
              <a:buChar char="•"/>
            </a:pPr>
            <a:r>
              <a:rPr lang="fr-FR" sz="1100" kern="1200" dirty="0">
                <a:ea typeface="+mn-ea"/>
                <a:cs typeface="Century Gothic"/>
              </a:rPr>
              <a:t>Chaque chef d'équipe a fourni des informations générales sur l'avancement des projets au cours d'entretiens spécifiques.</a:t>
            </a:r>
          </a:p>
        </p:txBody>
      </p:sp>
      <p:sp>
        <p:nvSpPr>
          <p:cNvPr id="71" name="Oval 70">
            <a:extLst>
              <a:ext uri="{FF2B5EF4-FFF2-40B4-BE49-F238E27FC236}">
                <a16:creationId xmlns:a16="http://schemas.microsoft.com/office/drawing/2014/main" id="{2695C169-BF93-4A97-8818-3129260124D6}"/>
              </a:ext>
            </a:extLst>
          </p:cNvPr>
          <p:cNvSpPr/>
          <p:nvPr/>
        </p:nvSpPr>
        <p:spPr bwMode="auto">
          <a:xfrm>
            <a:off x="3193887" y="1000800"/>
            <a:ext cx="345831" cy="324000"/>
          </a:xfrm>
          <a:prstGeom prst="ellipse">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1042988" rtl="0" eaLnBrk="1" fontAlgn="base" latinLnBrk="0" hangingPunct="1">
              <a:lnSpc>
                <a:spcPct val="115000"/>
              </a:lnSpc>
              <a:spcBef>
                <a:spcPct val="0"/>
              </a:spcBef>
              <a:spcAft>
                <a:spcPct val="0"/>
              </a:spcAft>
              <a:buClrTx/>
              <a:buSzTx/>
              <a:buFontTx/>
              <a:buNone/>
              <a:tabLst/>
            </a:pPr>
            <a:r>
              <a:rPr kumimoji="0" lang="en-US" sz="1500" b="0" i="0" u="none" strike="noStrike" cap="none" normalizeH="0" baseline="0" dirty="0">
                <a:ln>
                  <a:noFill/>
                </a:ln>
                <a:solidFill>
                  <a:srgbClr val="86BC25"/>
                </a:solidFill>
                <a:effectLst/>
                <a:latin typeface="Arial" pitchFamily="34" charset="0"/>
                <a:cs typeface="Arial" pitchFamily="34" charset="0"/>
              </a:rPr>
              <a:t>1</a:t>
            </a:r>
          </a:p>
        </p:txBody>
      </p:sp>
      <p:sp>
        <p:nvSpPr>
          <p:cNvPr id="73" name="Arrow: Chevron 72">
            <a:extLst>
              <a:ext uri="{FF2B5EF4-FFF2-40B4-BE49-F238E27FC236}">
                <a16:creationId xmlns:a16="http://schemas.microsoft.com/office/drawing/2014/main" id="{019AADC3-44E0-4762-BB75-17F3FF065123}"/>
              </a:ext>
            </a:extLst>
          </p:cNvPr>
          <p:cNvSpPr/>
          <p:nvPr/>
        </p:nvSpPr>
        <p:spPr bwMode="auto">
          <a:xfrm>
            <a:off x="3084039" y="2883782"/>
            <a:ext cx="8031636" cy="386004"/>
          </a:xfrm>
          <a:prstGeom prst="chevron">
            <a:avLst>
              <a:gd name="adj" fmla="val 32030"/>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r>
              <a:rPr kumimoji="0" lang="fr-FR" sz="1200" b="1" u="none" strike="noStrike" cap="none" normalizeH="0" baseline="0" dirty="0">
                <a:ln>
                  <a:noFill/>
                </a:ln>
                <a:solidFill>
                  <a:schemeClr val="bg1"/>
                </a:solidFill>
                <a:effectLst/>
              </a:rPr>
              <a:t>Harmonisation des données</a:t>
            </a:r>
          </a:p>
        </p:txBody>
      </p:sp>
      <p:sp>
        <p:nvSpPr>
          <p:cNvPr id="74" name="Oval 73">
            <a:extLst>
              <a:ext uri="{FF2B5EF4-FFF2-40B4-BE49-F238E27FC236}">
                <a16:creationId xmlns:a16="http://schemas.microsoft.com/office/drawing/2014/main" id="{AA1BE406-60E7-49EE-872E-824CB53B3A4C}"/>
              </a:ext>
            </a:extLst>
          </p:cNvPr>
          <p:cNvSpPr/>
          <p:nvPr/>
        </p:nvSpPr>
        <p:spPr bwMode="auto">
          <a:xfrm>
            <a:off x="3297591" y="2688990"/>
            <a:ext cx="346712" cy="324000"/>
          </a:xfrm>
          <a:prstGeom prst="ellipse">
            <a:avLst/>
          </a:prstGeom>
          <a:solidFill>
            <a:schemeClr val="bg1"/>
          </a:solidFill>
          <a:ln w="12700" cap="flat" cmpd="sng" algn="ctr">
            <a:solidFill>
              <a:schemeClr val="accent3"/>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1042988" rtl="0" eaLnBrk="1" fontAlgn="base" latinLnBrk="0" hangingPunct="1">
              <a:lnSpc>
                <a:spcPct val="115000"/>
              </a:lnSpc>
              <a:spcBef>
                <a:spcPct val="0"/>
              </a:spcBef>
              <a:spcAft>
                <a:spcPct val="0"/>
              </a:spcAft>
              <a:buClrTx/>
              <a:buSzTx/>
              <a:buFontTx/>
              <a:buNone/>
              <a:tabLst/>
            </a:pPr>
            <a:r>
              <a:rPr kumimoji="0" lang="en-US" sz="1500" b="0" i="0" u="none" strike="noStrike" cap="none" normalizeH="0" baseline="0" dirty="0">
                <a:ln>
                  <a:noFill/>
                </a:ln>
                <a:solidFill>
                  <a:srgbClr val="26890D"/>
                </a:solidFill>
                <a:effectLst/>
                <a:latin typeface="Arial" pitchFamily="34" charset="0"/>
                <a:cs typeface="Arial" pitchFamily="34" charset="0"/>
              </a:rPr>
              <a:t>2</a:t>
            </a:r>
          </a:p>
        </p:txBody>
      </p:sp>
      <p:sp>
        <p:nvSpPr>
          <p:cNvPr id="79" name="TextBox 78">
            <a:extLst>
              <a:ext uri="{FF2B5EF4-FFF2-40B4-BE49-F238E27FC236}">
                <a16:creationId xmlns:a16="http://schemas.microsoft.com/office/drawing/2014/main" id="{D7B5BCE6-B631-4E40-B5A5-4FA07B45BF9A}"/>
              </a:ext>
            </a:extLst>
          </p:cNvPr>
          <p:cNvSpPr txBox="1"/>
          <p:nvPr/>
        </p:nvSpPr>
        <p:spPr>
          <a:xfrm>
            <a:off x="3392513" y="5627661"/>
            <a:ext cx="7694870" cy="430887"/>
          </a:xfrm>
          <a:prstGeom prst="rect">
            <a:avLst/>
          </a:prstGeom>
          <a:noFill/>
        </p:spPr>
        <p:txBody>
          <a:bodyPr wrap="square">
            <a:spAutoFit/>
          </a:bodyPr>
          <a:lstStyle/>
          <a:p>
            <a:r>
              <a:rPr lang="fr-FR" sz="1100" b="0" i="0" u="none" strike="noStrike" dirty="0">
                <a:effectLst/>
              </a:rPr>
              <a:t>La maturité est notée de 1 à 5, sur la base du cadre utilisé en 2021, qui pourra être amélioré grâce aux informations recueillies en 2022.</a:t>
            </a:r>
            <a:endParaRPr lang="fr-FR" sz="1100" dirty="0"/>
          </a:p>
        </p:txBody>
      </p:sp>
      <p:sp>
        <p:nvSpPr>
          <p:cNvPr id="91" name="TextBox 90">
            <a:extLst>
              <a:ext uri="{FF2B5EF4-FFF2-40B4-BE49-F238E27FC236}">
                <a16:creationId xmlns:a16="http://schemas.microsoft.com/office/drawing/2014/main" id="{253CC08F-35AF-4A99-AC7E-157B0D6F041D}"/>
              </a:ext>
            </a:extLst>
          </p:cNvPr>
          <p:cNvSpPr txBox="1"/>
          <p:nvPr/>
        </p:nvSpPr>
        <p:spPr>
          <a:xfrm>
            <a:off x="3176726" y="3592695"/>
            <a:ext cx="7543843" cy="1107996"/>
          </a:xfrm>
          <a:prstGeom prst="rect">
            <a:avLst/>
          </a:prstGeom>
          <a:noFill/>
          <a:ln>
            <a:noFill/>
            <a:prstDash val="dash"/>
          </a:ln>
        </p:spPr>
        <p:txBody>
          <a:bodyPr wrap="square" rtlCol="0">
            <a:spAutoFit/>
          </a:bodyPr>
          <a:lstStyle/>
          <a:p>
            <a:pPr marL="171450" indent="-171450" algn="just">
              <a:buFont typeface="Arial" panose="020B0604020202020204" pitchFamily="34" charset="0"/>
              <a:buChar char="•"/>
            </a:pPr>
            <a:r>
              <a:rPr lang="fr-FR" sz="1100" kern="1200" dirty="0">
                <a:ea typeface="+mn-ea"/>
                <a:cs typeface="Century Gothic"/>
              </a:rPr>
              <a:t>Définition d’un questionnaire détaillant les activités à réaliser pour s'assurer que pour chaque projet tous les objectifs sont atteints et que les mêmes métriques sont utilisés. </a:t>
            </a:r>
          </a:p>
          <a:p>
            <a:pPr marL="171450" indent="-171450" algn="just">
              <a:buFont typeface="Arial" panose="020B0604020202020204" pitchFamily="34" charset="0"/>
              <a:buChar char="•"/>
            </a:pPr>
            <a:r>
              <a:rPr lang="fr-FR" sz="1100" kern="1200" dirty="0">
                <a:ea typeface="+mn-ea"/>
                <a:cs typeface="Century Gothic"/>
              </a:rPr>
              <a:t>Le statut de chaque activité peut être indiqué, y compris la non-applicabilité à l'environnement de la division concernée.</a:t>
            </a:r>
          </a:p>
          <a:p>
            <a:pPr marL="171450" indent="-171450" algn="just">
              <a:buFont typeface="Arial" panose="020B0604020202020204" pitchFamily="34" charset="0"/>
              <a:buChar char="•"/>
            </a:pPr>
            <a:r>
              <a:rPr lang="fr-FR" sz="1100" b="0" i="0" u="none" strike="noStrike" dirty="0">
                <a:effectLst/>
              </a:rPr>
              <a:t>Deloitte a commencé la traduction des contributions des parties prenantes dans le questionnaire. </a:t>
            </a:r>
            <a:endParaRPr lang="en-US" sz="1100" b="0" i="0" u="none" strike="noStrike" dirty="0">
              <a:effectLst/>
            </a:endParaRPr>
          </a:p>
          <a:p>
            <a:pPr marL="171450" indent="-171450" algn="just">
              <a:buFont typeface="Arial" panose="020B0604020202020204" pitchFamily="34" charset="0"/>
              <a:buChar char="•"/>
            </a:pPr>
            <a:r>
              <a:rPr lang="fr-FR" sz="1100" b="0" i="0" u="none" strike="noStrike" dirty="0">
                <a:effectLst/>
              </a:rPr>
              <a:t>Les responsables doivent confirmer la compréhension de l'avancement des projets de Deloitte et apporter des précisions si nécessaire. </a:t>
            </a:r>
            <a:r>
              <a:rPr lang="en-US" sz="1100" b="0" i="0" u="none" strike="noStrike" dirty="0">
                <a:effectLst/>
              </a:rPr>
              <a:t> </a:t>
            </a:r>
          </a:p>
        </p:txBody>
      </p:sp>
      <p:sp>
        <p:nvSpPr>
          <p:cNvPr id="92" name="Title 1">
            <a:extLst>
              <a:ext uri="{FF2B5EF4-FFF2-40B4-BE49-F238E27FC236}">
                <a16:creationId xmlns:a16="http://schemas.microsoft.com/office/drawing/2014/main" id="{F1F085BE-52B1-4AA9-86B6-BB3BECBE6F57}"/>
              </a:ext>
            </a:extLst>
          </p:cNvPr>
          <p:cNvSpPr>
            <a:spLocks noGrp="1"/>
          </p:cNvSpPr>
          <p:nvPr>
            <p:ph type="title"/>
          </p:nvPr>
        </p:nvSpPr>
        <p:spPr>
          <a:xfrm>
            <a:off x="2381250" y="343190"/>
            <a:ext cx="6743700" cy="309820"/>
          </a:xfrm>
        </p:spPr>
        <p:txBody>
          <a:bodyPr/>
          <a:lstStyle/>
          <a:p>
            <a:r>
              <a:rPr lang="fr-FR" sz="2800" b="1" dirty="0">
                <a:solidFill>
                  <a:schemeClr val="accent1"/>
                </a:solidFill>
              </a:rPr>
              <a:t>Méthodologie</a:t>
            </a:r>
          </a:p>
        </p:txBody>
      </p:sp>
      <p:sp>
        <p:nvSpPr>
          <p:cNvPr id="98" name="Rectangle 97">
            <a:extLst>
              <a:ext uri="{FF2B5EF4-FFF2-40B4-BE49-F238E27FC236}">
                <a16:creationId xmlns:a16="http://schemas.microsoft.com/office/drawing/2014/main" id="{4F0F1582-8946-44ED-8134-29B3FECCC4C6}"/>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100" name="Picture 4" descr="Deloitte Consulting LLP - Partner - Boomi">
            <a:extLst>
              <a:ext uri="{FF2B5EF4-FFF2-40B4-BE49-F238E27FC236}">
                <a16:creationId xmlns:a16="http://schemas.microsoft.com/office/drawing/2014/main" id="{22F1DF83-0F27-4E67-91A7-E07AE94014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sp>
        <p:nvSpPr>
          <p:cNvPr id="103" name="ZoneTexte 128">
            <a:extLst>
              <a:ext uri="{FF2B5EF4-FFF2-40B4-BE49-F238E27FC236}">
                <a16:creationId xmlns:a16="http://schemas.microsoft.com/office/drawing/2014/main" id="{58DF7086-0858-42DE-AD0F-8725E97FD084}"/>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dirty="0">
                <a:solidFill>
                  <a:srgbClr val="313131"/>
                </a:solidFill>
              </a:rPr>
              <a:t>Phase 1</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sp>
        <p:nvSpPr>
          <p:cNvPr id="105" name="Rectangle 104">
            <a:extLst>
              <a:ext uri="{FF2B5EF4-FFF2-40B4-BE49-F238E27FC236}">
                <a16:creationId xmlns:a16="http://schemas.microsoft.com/office/drawing/2014/main" id="{DD86A51A-94DA-47C9-BC4A-D1AF2D5C117C}"/>
              </a:ext>
            </a:extLst>
          </p:cNvPr>
          <p:cNvSpPr/>
          <p:nvPr/>
        </p:nvSpPr>
        <p:spPr bwMode="gray">
          <a:xfrm>
            <a:off x="3193887" y="5157658"/>
            <a:ext cx="7921788" cy="361975"/>
          </a:xfrm>
          <a:prstGeom prst="rect">
            <a:avLst/>
          </a:prstGeom>
          <a:solidFill>
            <a:srgbClr val="435E13"/>
          </a:solidFill>
          <a:ln w="6350">
            <a:solidFill>
              <a:srgbClr val="435E13"/>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pPr>
            <a:r>
              <a:rPr lang="en-US" sz="1400" b="1" dirty="0">
                <a:solidFill>
                  <a:schemeClr val="bg1"/>
                </a:solidFill>
              </a:rPr>
              <a:t>Evaluation de la </a:t>
            </a:r>
            <a:r>
              <a:rPr lang="fr-FR" sz="1400" b="1" dirty="0">
                <a:solidFill>
                  <a:schemeClr val="bg1"/>
                </a:solidFill>
              </a:rPr>
              <a:t>maturité</a:t>
            </a:r>
            <a:endParaRPr kumimoji="0" lang="fr-FR" sz="1400" b="1" i="0" u="none" strike="noStrike" cap="none" normalizeH="0" baseline="0" dirty="0">
              <a:ln>
                <a:noFill/>
              </a:ln>
              <a:solidFill>
                <a:schemeClr val="bg1"/>
              </a:solidFill>
              <a:effectLst/>
            </a:endParaRPr>
          </a:p>
        </p:txBody>
      </p:sp>
      <p:pic>
        <p:nvPicPr>
          <p:cNvPr id="17" name="Picture 2" descr="Eléments graphiques | INSA Lyon">
            <a:extLst>
              <a:ext uri="{FF2B5EF4-FFF2-40B4-BE49-F238E27FC236}">
                <a16:creationId xmlns:a16="http://schemas.microsoft.com/office/drawing/2014/main" id="{30E90E23-5FF9-429C-9766-62B7596B8C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0502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393AEB5-2316-4A19-944A-42F98851B7F0}"/>
              </a:ext>
            </a:extLst>
          </p:cNvPr>
          <p:cNvSpPr/>
          <p:nvPr/>
        </p:nvSpPr>
        <p:spPr bwMode="gray">
          <a:xfrm>
            <a:off x="3815133" y="773373"/>
            <a:ext cx="7491041" cy="254352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6" name="Rectangle 5">
            <a:extLst>
              <a:ext uri="{FF2B5EF4-FFF2-40B4-BE49-F238E27FC236}">
                <a16:creationId xmlns:a16="http://schemas.microsoft.com/office/drawing/2014/main" id="{EA8AC746-BE26-48A5-8D3F-A5BAB9C14E74}"/>
              </a:ext>
            </a:extLst>
          </p:cNvPr>
          <p:cNvSpPr/>
          <p:nvPr/>
        </p:nvSpPr>
        <p:spPr bwMode="gray">
          <a:xfrm>
            <a:off x="3815134" y="3761799"/>
            <a:ext cx="7491042" cy="2868031"/>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92" name="Title 1">
            <a:extLst>
              <a:ext uri="{FF2B5EF4-FFF2-40B4-BE49-F238E27FC236}">
                <a16:creationId xmlns:a16="http://schemas.microsoft.com/office/drawing/2014/main" id="{F1F085BE-52B1-4AA9-86B6-BB3BECBE6F57}"/>
              </a:ext>
            </a:extLst>
          </p:cNvPr>
          <p:cNvSpPr>
            <a:spLocks noGrp="1"/>
          </p:cNvSpPr>
          <p:nvPr>
            <p:ph type="title"/>
          </p:nvPr>
        </p:nvSpPr>
        <p:spPr>
          <a:xfrm>
            <a:off x="2381250" y="343190"/>
            <a:ext cx="6743700" cy="309820"/>
          </a:xfrm>
        </p:spPr>
        <p:txBody>
          <a:bodyPr/>
          <a:lstStyle/>
          <a:p>
            <a:r>
              <a:rPr lang="fr-FR" sz="2800" b="1" dirty="0">
                <a:solidFill>
                  <a:schemeClr val="accent1"/>
                </a:solidFill>
              </a:rPr>
              <a:t>KPIs &amp; </a:t>
            </a:r>
            <a:r>
              <a:rPr lang="fr-FR" sz="2800" b="1" dirty="0" err="1">
                <a:solidFill>
                  <a:schemeClr val="accent1"/>
                </a:solidFill>
              </a:rPr>
              <a:t>Reporting</a:t>
            </a:r>
            <a:endParaRPr lang="fr-FR" sz="2800" b="1" dirty="0">
              <a:solidFill>
                <a:schemeClr val="accent1"/>
              </a:solidFill>
            </a:endParaRPr>
          </a:p>
        </p:txBody>
      </p:sp>
      <p:sp>
        <p:nvSpPr>
          <p:cNvPr id="98" name="Rectangle 97">
            <a:extLst>
              <a:ext uri="{FF2B5EF4-FFF2-40B4-BE49-F238E27FC236}">
                <a16:creationId xmlns:a16="http://schemas.microsoft.com/office/drawing/2014/main" id="{4F0F1582-8946-44ED-8134-29B3FECCC4C6}"/>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100" name="Picture 4" descr="Deloitte Consulting LLP - Partner - Boomi">
            <a:extLst>
              <a:ext uri="{FF2B5EF4-FFF2-40B4-BE49-F238E27FC236}">
                <a16:creationId xmlns:a16="http://schemas.microsoft.com/office/drawing/2014/main" id="{22F1DF83-0F27-4E67-91A7-E07AE94014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6B480D2-06E0-4218-97E3-5121B4866AA8}"/>
              </a:ext>
            </a:extLst>
          </p:cNvPr>
          <p:cNvCxnSpPr/>
          <p:nvPr/>
        </p:nvCxnSpPr>
        <p:spPr>
          <a:xfrm>
            <a:off x="2381250" y="3641435"/>
            <a:ext cx="9496714" cy="0"/>
          </a:xfrm>
          <a:prstGeom prst="line">
            <a:avLst/>
          </a:prstGeom>
          <a:ln w="19050">
            <a:prstDash val="dash"/>
          </a:ln>
        </p:spPr>
        <p:style>
          <a:lnRef idx="1">
            <a:schemeClr val="accent6"/>
          </a:lnRef>
          <a:fillRef idx="0">
            <a:schemeClr val="accent6"/>
          </a:fillRef>
          <a:effectRef idx="0">
            <a:schemeClr val="accent6"/>
          </a:effectRef>
          <a:fontRef idx="minor">
            <a:schemeClr val="tx1"/>
          </a:fontRef>
        </p:style>
      </p:cxnSp>
      <p:sp>
        <p:nvSpPr>
          <p:cNvPr id="20" name="Rectangle 19">
            <a:extLst>
              <a:ext uri="{FF2B5EF4-FFF2-40B4-BE49-F238E27FC236}">
                <a16:creationId xmlns:a16="http://schemas.microsoft.com/office/drawing/2014/main" id="{3A44FF5F-6C7B-4F1F-8FC0-8D5FC8E7538B}"/>
              </a:ext>
            </a:extLst>
          </p:cNvPr>
          <p:cNvSpPr/>
          <p:nvPr/>
        </p:nvSpPr>
        <p:spPr bwMode="gray">
          <a:xfrm rot="16200000">
            <a:off x="1539645" y="4840489"/>
            <a:ext cx="2328024" cy="644811"/>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bg1"/>
                </a:solidFill>
              </a:rPr>
              <a:t>Tableau de bord de statuts des projets</a:t>
            </a:r>
          </a:p>
        </p:txBody>
      </p:sp>
      <p:sp>
        <p:nvSpPr>
          <p:cNvPr id="23" name="Rectangle 22">
            <a:extLst>
              <a:ext uri="{FF2B5EF4-FFF2-40B4-BE49-F238E27FC236}">
                <a16:creationId xmlns:a16="http://schemas.microsoft.com/office/drawing/2014/main" id="{8EDA0F4A-8B1B-4B3E-87BD-2C6C0E22C2E5}"/>
              </a:ext>
            </a:extLst>
          </p:cNvPr>
          <p:cNvSpPr/>
          <p:nvPr/>
        </p:nvSpPr>
        <p:spPr bwMode="gray">
          <a:xfrm rot="16200000">
            <a:off x="1539645" y="1830486"/>
            <a:ext cx="2328024" cy="644811"/>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bg1"/>
                </a:solidFill>
              </a:rPr>
              <a:t>Tableau de bord Maturité AD</a:t>
            </a:r>
          </a:p>
        </p:txBody>
      </p:sp>
      <p:pic>
        <p:nvPicPr>
          <p:cNvPr id="25" name="Picture 24">
            <a:extLst>
              <a:ext uri="{FF2B5EF4-FFF2-40B4-BE49-F238E27FC236}">
                <a16:creationId xmlns:a16="http://schemas.microsoft.com/office/drawing/2014/main" id="{6E02275F-0028-44DF-96AD-2F758554A537}"/>
              </a:ext>
            </a:extLst>
          </p:cNvPr>
          <p:cNvPicPr/>
          <p:nvPr/>
        </p:nvPicPr>
        <p:blipFill>
          <a:blip r:embed="rId4"/>
          <a:stretch>
            <a:fillRect/>
          </a:stretch>
        </p:blipFill>
        <p:spPr>
          <a:xfrm>
            <a:off x="4097365" y="3794719"/>
            <a:ext cx="7019810" cy="2802190"/>
          </a:xfrm>
          <a:prstGeom prst="rect">
            <a:avLst/>
          </a:prstGeom>
        </p:spPr>
      </p:pic>
      <p:pic>
        <p:nvPicPr>
          <p:cNvPr id="24" name="Picture 23">
            <a:extLst>
              <a:ext uri="{FF2B5EF4-FFF2-40B4-BE49-F238E27FC236}">
                <a16:creationId xmlns:a16="http://schemas.microsoft.com/office/drawing/2014/main" id="{BB3B62EF-1A04-4F2D-B052-3346042D41B9}"/>
              </a:ext>
            </a:extLst>
          </p:cNvPr>
          <p:cNvPicPr/>
          <p:nvPr/>
        </p:nvPicPr>
        <p:blipFill>
          <a:blip r:embed="rId5"/>
          <a:stretch>
            <a:fillRect/>
          </a:stretch>
        </p:blipFill>
        <p:spPr>
          <a:xfrm>
            <a:off x="3954980" y="802849"/>
            <a:ext cx="7304579" cy="2011540"/>
          </a:xfrm>
          <a:prstGeom prst="rect">
            <a:avLst/>
          </a:prstGeom>
        </p:spPr>
      </p:pic>
      <p:sp>
        <p:nvSpPr>
          <p:cNvPr id="27" name="ZoneTexte 128">
            <a:extLst>
              <a:ext uri="{FF2B5EF4-FFF2-40B4-BE49-F238E27FC236}">
                <a16:creationId xmlns:a16="http://schemas.microsoft.com/office/drawing/2014/main" id="{23F0A9BD-844B-4CE1-AA1E-7B7D92AE5CD7}"/>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dirty="0">
                <a:solidFill>
                  <a:srgbClr val="313131"/>
                </a:solidFill>
              </a:rPr>
              <a:t>Phase 1</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sp>
        <p:nvSpPr>
          <p:cNvPr id="7" name="TextBox 6">
            <a:extLst>
              <a:ext uri="{FF2B5EF4-FFF2-40B4-BE49-F238E27FC236}">
                <a16:creationId xmlns:a16="http://schemas.microsoft.com/office/drawing/2014/main" id="{27543DBE-53A0-479C-B33A-80DA08C2B35E}"/>
              </a:ext>
            </a:extLst>
          </p:cNvPr>
          <p:cNvSpPr txBox="1"/>
          <p:nvPr/>
        </p:nvSpPr>
        <p:spPr>
          <a:xfrm>
            <a:off x="5410199" y="2873283"/>
            <a:ext cx="3790950" cy="384721"/>
          </a:xfrm>
          <a:prstGeom prst="rect">
            <a:avLst/>
          </a:prstGeom>
          <a:noFill/>
        </p:spPr>
        <p:txBody>
          <a:bodyPr wrap="square" lIns="0" tIns="0" rIns="0" bIns="0" rtlCol="0">
            <a:spAutoFit/>
          </a:bodyPr>
          <a:lstStyle/>
          <a:p>
            <a:pPr marL="228600" indent="-228600">
              <a:spcBef>
                <a:spcPts val="600"/>
              </a:spcBef>
              <a:buSzPct val="100000"/>
              <a:buFont typeface="+mj-lt"/>
              <a:buAutoNum type="arabicPeriod"/>
            </a:pPr>
            <a:r>
              <a:rPr lang="fr-FR" sz="1000" i="1" dirty="0">
                <a:solidFill>
                  <a:srgbClr val="313131"/>
                </a:solidFill>
              </a:rPr>
              <a:t>Maturité de projet = </a:t>
            </a:r>
            <a:r>
              <a:rPr lang="fr-FR" sz="1000" i="1" dirty="0" err="1">
                <a:solidFill>
                  <a:srgbClr val="313131"/>
                </a:solidFill>
              </a:rPr>
              <a:t>Average</a:t>
            </a:r>
            <a:r>
              <a:rPr lang="fr-FR" sz="1000" i="1" dirty="0">
                <a:solidFill>
                  <a:srgbClr val="313131"/>
                </a:solidFill>
              </a:rPr>
              <a:t> [ </a:t>
            </a:r>
            <a:r>
              <a:rPr lang="fr-FR" sz="1000" i="1" dirty="0" err="1">
                <a:solidFill>
                  <a:srgbClr val="313131"/>
                </a:solidFill>
              </a:rPr>
              <a:t>Activities</a:t>
            </a:r>
            <a:r>
              <a:rPr lang="fr-FR" sz="1000" i="1" dirty="0">
                <a:solidFill>
                  <a:srgbClr val="313131"/>
                </a:solidFill>
              </a:rPr>
              <a:t> Progress ] * Project </a:t>
            </a:r>
            <a:r>
              <a:rPr lang="fr-FR" sz="1000" i="1" dirty="0" err="1">
                <a:solidFill>
                  <a:srgbClr val="313131"/>
                </a:solidFill>
              </a:rPr>
              <a:t>weight</a:t>
            </a:r>
            <a:endParaRPr lang="fr-FR" sz="1000" i="1" dirty="0">
              <a:solidFill>
                <a:srgbClr val="313131"/>
              </a:solidFill>
            </a:endParaRPr>
          </a:p>
          <a:p>
            <a:pPr marL="228600" indent="-228600">
              <a:spcBef>
                <a:spcPts val="600"/>
              </a:spcBef>
              <a:buSzPct val="100000"/>
              <a:buFont typeface="+mj-lt"/>
              <a:buAutoNum type="arabicPeriod"/>
            </a:pPr>
            <a:r>
              <a:rPr lang="fr-FR" sz="1000" i="1" dirty="0">
                <a:solidFill>
                  <a:srgbClr val="313131"/>
                </a:solidFill>
              </a:rPr>
              <a:t>Nouveau score = 2021 </a:t>
            </a:r>
            <a:r>
              <a:rPr lang="fr-FR" sz="1000" i="1" dirty="0" err="1">
                <a:solidFill>
                  <a:srgbClr val="313131"/>
                </a:solidFill>
              </a:rPr>
              <a:t>Maturity</a:t>
            </a:r>
            <a:r>
              <a:rPr lang="fr-FR" sz="1000" i="1" dirty="0">
                <a:solidFill>
                  <a:srgbClr val="313131"/>
                </a:solidFill>
              </a:rPr>
              <a:t> </a:t>
            </a:r>
            <a:r>
              <a:rPr lang="fr-FR" sz="1000" i="1" dirty="0" err="1">
                <a:solidFill>
                  <a:srgbClr val="313131"/>
                </a:solidFill>
              </a:rPr>
              <a:t>level</a:t>
            </a:r>
            <a:r>
              <a:rPr lang="fr-FR" sz="1000" i="1" dirty="0">
                <a:solidFill>
                  <a:srgbClr val="313131"/>
                </a:solidFill>
              </a:rPr>
              <a:t> + </a:t>
            </a:r>
            <a:r>
              <a:rPr lang="fr-FR" sz="1000" i="1" dirty="0" err="1">
                <a:solidFill>
                  <a:srgbClr val="313131"/>
                </a:solidFill>
              </a:rPr>
              <a:t>Average</a:t>
            </a:r>
            <a:r>
              <a:rPr lang="fr-FR" sz="1000" i="1" dirty="0">
                <a:solidFill>
                  <a:srgbClr val="313131"/>
                </a:solidFill>
              </a:rPr>
              <a:t> [ Maturité de projet ]</a:t>
            </a:r>
          </a:p>
        </p:txBody>
      </p:sp>
      <p:pic>
        <p:nvPicPr>
          <p:cNvPr id="16" name="Picture 2" descr="Eléments graphiques | INSA Lyon">
            <a:extLst>
              <a:ext uri="{FF2B5EF4-FFF2-40B4-BE49-F238E27FC236}">
                <a16:creationId xmlns:a16="http://schemas.microsoft.com/office/drawing/2014/main" id="{54024791-8A32-477B-874D-3817071858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4144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A1A39-FEA5-45F0-8A95-1A2DE8823E7B}"/>
              </a:ext>
            </a:extLst>
          </p:cNvPr>
          <p:cNvSpPr>
            <a:spLocks noGrp="1"/>
          </p:cNvSpPr>
          <p:nvPr>
            <p:ph type="title"/>
          </p:nvPr>
        </p:nvSpPr>
        <p:spPr>
          <a:xfrm>
            <a:off x="2381250" y="343190"/>
            <a:ext cx="6743700" cy="309820"/>
          </a:xfrm>
        </p:spPr>
        <p:txBody>
          <a:bodyPr/>
          <a:lstStyle/>
          <a:p>
            <a:r>
              <a:rPr lang="fr-FR" sz="2800" b="1" dirty="0">
                <a:solidFill>
                  <a:schemeClr val="accent1"/>
                </a:solidFill>
              </a:rPr>
              <a:t>Gestion de projet</a:t>
            </a:r>
          </a:p>
        </p:txBody>
      </p:sp>
      <p:sp>
        <p:nvSpPr>
          <p:cNvPr id="5" name="Rectangle 4">
            <a:extLst>
              <a:ext uri="{FF2B5EF4-FFF2-40B4-BE49-F238E27FC236}">
                <a16:creationId xmlns:a16="http://schemas.microsoft.com/office/drawing/2014/main" id="{81E10ACE-8204-433C-A47C-CE8C4C39D474}"/>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7" name="Picture 4" descr="Deloitte Consulting LLP - Partner - Boomi">
            <a:extLst>
              <a:ext uri="{FF2B5EF4-FFF2-40B4-BE49-F238E27FC236}">
                <a16:creationId xmlns:a16="http://schemas.microsoft.com/office/drawing/2014/main" id="{981A2C2E-67FB-4095-850E-3C58285190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able 8">
            <a:extLst>
              <a:ext uri="{FF2B5EF4-FFF2-40B4-BE49-F238E27FC236}">
                <a16:creationId xmlns:a16="http://schemas.microsoft.com/office/drawing/2014/main" id="{1DDA657C-1319-4C01-B6FD-A88E1B4C85BC}"/>
              </a:ext>
            </a:extLst>
          </p:cNvPr>
          <p:cNvGraphicFramePr>
            <a:graphicFrameLocks noGrp="1"/>
          </p:cNvGraphicFramePr>
          <p:nvPr>
            <p:extLst>
              <p:ext uri="{D42A27DB-BD31-4B8C-83A1-F6EECF244321}">
                <p14:modId xmlns:p14="http://schemas.microsoft.com/office/powerpoint/2010/main" val="3764125617"/>
              </p:ext>
            </p:extLst>
          </p:nvPr>
        </p:nvGraphicFramePr>
        <p:xfrm>
          <a:off x="2162917" y="1706413"/>
          <a:ext cx="9841014" cy="4423137"/>
        </p:xfrm>
        <a:graphic>
          <a:graphicData uri="http://schemas.openxmlformats.org/drawingml/2006/table">
            <a:tbl>
              <a:tblPr firstRow="1" bandRow="1">
                <a:noFill/>
              </a:tblPr>
              <a:tblGrid>
                <a:gridCol w="2066081">
                  <a:extLst>
                    <a:ext uri="{9D8B030D-6E8A-4147-A177-3AD203B41FA5}">
                      <a16:colId xmlns:a16="http://schemas.microsoft.com/office/drawing/2014/main" val="3249086188"/>
                    </a:ext>
                  </a:extLst>
                </a:gridCol>
                <a:gridCol w="1022719">
                  <a:extLst>
                    <a:ext uri="{9D8B030D-6E8A-4147-A177-3AD203B41FA5}">
                      <a16:colId xmlns:a16="http://schemas.microsoft.com/office/drawing/2014/main" val="2844702020"/>
                    </a:ext>
                  </a:extLst>
                </a:gridCol>
                <a:gridCol w="1125369">
                  <a:extLst>
                    <a:ext uri="{9D8B030D-6E8A-4147-A177-3AD203B41FA5}">
                      <a16:colId xmlns:a16="http://schemas.microsoft.com/office/drawing/2014/main" val="2016643853"/>
                    </a:ext>
                  </a:extLst>
                </a:gridCol>
                <a:gridCol w="1125369">
                  <a:extLst>
                    <a:ext uri="{9D8B030D-6E8A-4147-A177-3AD203B41FA5}">
                      <a16:colId xmlns:a16="http://schemas.microsoft.com/office/drawing/2014/main" val="2588192825"/>
                    </a:ext>
                  </a:extLst>
                </a:gridCol>
                <a:gridCol w="1125369">
                  <a:extLst>
                    <a:ext uri="{9D8B030D-6E8A-4147-A177-3AD203B41FA5}">
                      <a16:colId xmlns:a16="http://schemas.microsoft.com/office/drawing/2014/main" val="307225621"/>
                    </a:ext>
                  </a:extLst>
                </a:gridCol>
                <a:gridCol w="1125369">
                  <a:extLst>
                    <a:ext uri="{9D8B030D-6E8A-4147-A177-3AD203B41FA5}">
                      <a16:colId xmlns:a16="http://schemas.microsoft.com/office/drawing/2014/main" val="503761141"/>
                    </a:ext>
                  </a:extLst>
                </a:gridCol>
                <a:gridCol w="1125369">
                  <a:extLst>
                    <a:ext uri="{9D8B030D-6E8A-4147-A177-3AD203B41FA5}">
                      <a16:colId xmlns:a16="http://schemas.microsoft.com/office/drawing/2014/main" val="1745410441"/>
                    </a:ext>
                  </a:extLst>
                </a:gridCol>
                <a:gridCol w="1125369">
                  <a:extLst>
                    <a:ext uri="{9D8B030D-6E8A-4147-A177-3AD203B41FA5}">
                      <a16:colId xmlns:a16="http://schemas.microsoft.com/office/drawing/2014/main" val="3699433959"/>
                    </a:ext>
                  </a:extLst>
                </a:gridCol>
              </a:tblGrid>
              <a:tr h="694638">
                <a:tc>
                  <a:txBody>
                    <a:bodyPr/>
                    <a:lstStyle>
                      <a:lvl1pPr marL="0" algn="l" defTabSz="914330" rtl="0" eaLnBrk="1" latinLnBrk="0" hangingPunct="1">
                        <a:defRPr sz="1800" b="1" kern="1200">
                          <a:solidFill>
                            <a:schemeClr val="lt1"/>
                          </a:solidFill>
                          <a:latin typeface="Calibri" panose="020F0502020204030204"/>
                        </a:defRPr>
                      </a:lvl1pPr>
                      <a:lvl2pPr marL="457166" algn="l" defTabSz="914330" rtl="0" eaLnBrk="1" latinLnBrk="0" hangingPunct="1">
                        <a:defRPr sz="1800" b="1" kern="1200">
                          <a:solidFill>
                            <a:schemeClr val="lt1"/>
                          </a:solidFill>
                          <a:latin typeface="Calibri" panose="020F0502020204030204"/>
                        </a:defRPr>
                      </a:lvl2pPr>
                      <a:lvl3pPr marL="914330" algn="l" defTabSz="914330" rtl="0" eaLnBrk="1" latinLnBrk="0" hangingPunct="1">
                        <a:defRPr sz="1800" b="1" kern="1200">
                          <a:solidFill>
                            <a:schemeClr val="lt1"/>
                          </a:solidFill>
                          <a:latin typeface="Calibri" panose="020F0502020204030204"/>
                        </a:defRPr>
                      </a:lvl3pPr>
                      <a:lvl4pPr marL="1371496" algn="l" defTabSz="914330" rtl="0" eaLnBrk="1" latinLnBrk="0" hangingPunct="1">
                        <a:defRPr sz="1800" b="1" kern="1200">
                          <a:solidFill>
                            <a:schemeClr val="lt1"/>
                          </a:solidFill>
                          <a:latin typeface="Calibri" panose="020F0502020204030204"/>
                        </a:defRPr>
                      </a:lvl4pPr>
                      <a:lvl5pPr marL="1828662" algn="l" defTabSz="914330" rtl="0" eaLnBrk="1" latinLnBrk="0" hangingPunct="1">
                        <a:defRPr sz="1800" b="1" kern="1200">
                          <a:solidFill>
                            <a:schemeClr val="lt1"/>
                          </a:solidFill>
                          <a:latin typeface="Calibri" panose="020F0502020204030204"/>
                        </a:defRPr>
                      </a:lvl5pPr>
                      <a:lvl6pPr marL="2285827" algn="l" defTabSz="914330" rtl="0" eaLnBrk="1" latinLnBrk="0" hangingPunct="1">
                        <a:defRPr sz="1800" b="1" kern="1200">
                          <a:solidFill>
                            <a:schemeClr val="lt1"/>
                          </a:solidFill>
                          <a:latin typeface="Calibri" panose="020F0502020204030204"/>
                        </a:defRPr>
                      </a:lvl6pPr>
                      <a:lvl7pPr marL="2742993" algn="l" defTabSz="914330" rtl="0" eaLnBrk="1" latinLnBrk="0" hangingPunct="1">
                        <a:defRPr sz="1800" b="1" kern="1200">
                          <a:solidFill>
                            <a:schemeClr val="lt1"/>
                          </a:solidFill>
                          <a:latin typeface="Calibri" panose="020F0502020204030204"/>
                        </a:defRPr>
                      </a:lvl7pPr>
                      <a:lvl8pPr marL="3200159" algn="l" defTabSz="914330" rtl="0" eaLnBrk="1" latinLnBrk="0" hangingPunct="1">
                        <a:defRPr sz="1800" b="1" kern="1200">
                          <a:solidFill>
                            <a:schemeClr val="lt1"/>
                          </a:solidFill>
                          <a:latin typeface="Calibri" panose="020F0502020204030204"/>
                        </a:defRPr>
                      </a:lvl8pPr>
                      <a:lvl9pPr marL="3657323" algn="l" defTabSz="914330" rtl="0" eaLnBrk="1" latinLnBrk="0" hangingPunct="1">
                        <a:defRPr sz="1800" b="1" kern="1200">
                          <a:solidFill>
                            <a:schemeClr val="lt1"/>
                          </a:solidFill>
                          <a:latin typeface="Calibri" panose="020F0502020204030204"/>
                        </a:defRPr>
                      </a:lvl9pPr>
                    </a:lstStyle>
                    <a:p>
                      <a:pPr marL="0" marR="0" lvl="0" indent="0" algn="l" defTabSz="1219140" rtl="0" eaLnBrk="1" fontAlgn="auto" latinLnBrk="0" hangingPunct="1">
                        <a:lnSpc>
                          <a:spcPct val="100000"/>
                        </a:lnSpc>
                        <a:spcBef>
                          <a:spcPts val="0"/>
                        </a:spcBef>
                        <a:spcAft>
                          <a:spcPts val="0"/>
                        </a:spcAft>
                        <a:buClrTx/>
                        <a:buSzTx/>
                        <a:buFontTx/>
                        <a:buNone/>
                        <a:tabLst/>
                        <a:defRPr/>
                      </a:pPr>
                      <a:r>
                        <a:rPr lang="en-US" sz="800" b="1" kern="1200" baseline="0" dirty="0">
                          <a:solidFill>
                            <a:schemeClr val="tx1"/>
                          </a:solidFill>
                          <a:latin typeface="+mn-lt"/>
                          <a:ea typeface="Open Sans Light" panose="020B0306030504020204" pitchFamily="34" charset="0"/>
                          <a:cs typeface="Open Sans Light" panose="020B0306030504020204" pitchFamily="34" charset="0"/>
                        </a:rPr>
                        <a:t>                                                     </a:t>
                      </a:r>
                      <a:r>
                        <a:rPr lang="en-US" sz="1100" b="1" kern="1200" baseline="0" dirty="0">
                          <a:solidFill>
                            <a:schemeClr val="tx1"/>
                          </a:solidFill>
                          <a:latin typeface="Verdana" panose="020B0604030504040204" pitchFamily="34" charset="0"/>
                          <a:ea typeface="Verdana" panose="020B0604030504040204" pitchFamily="34" charset="0"/>
                          <a:cs typeface="Open Sans Light" panose="020B0306030504020204" pitchFamily="34" charset="0"/>
                        </a:rPr>
                        <a:t>Temps</a:t>
                      </a:r>
                      <a:r>
                        <a:rPr lang="en-US" sz="800" b="1" kern="1200" baseline="0" dirty="0">
                          <a:solidFill>
                            <a:schemeClr val="tx1"/>
                          </a:solidFill>
                          <a:latin typeface="+mn-lt"/>
                          <a:ea typeface="Open Sans Light" panose="020B0306030504020204" pitchFamily="34" charset="0"/>
                          <a:cs typeface="Open Sans Light" panose="020B0306030504020204" pitchFamily="34" charset="0"/>
                        </a:rPr>
                        <a:t>                                         </a:t>
                      </a:r>
                      <a:r>
                        <a:rPr lang="fr-FR" sz="1100" b="1" kern="1200" noProof="0" dirty="0">
                          <a:solidFill>
                            <a:schemeClr val="tx1"/>
                          </a:solidFill>
                          <a:latin typeface="Verdana" panose="020B0604030504040204" pitchFamily="34" charset="0"/>
                          <a:ea typeface="Verdana" panose="020B0604030504040204" pitchFamily="34" charset="0"/>
                          <a:cs typeface="Open Sans Light" panose="020B0306030504020204" pitchFamily="34" charset="0"/>
                        </a:rPr>
                        <a:t>Activités</a:t>
                      </a:r>
                      <a:endParaRPr lang="fr-FR" sz="800" b="1" kern="1200" noProof="0" dirty="0">
                        <a:solidFill>
                          <a:schemeClr val="tx1"/>
                        </a:solidFill>
                        <a:latin typeface="Verdana" panose="020B0604030504040204" pitchFamily="34" charset="0"/>
                        <a:ea typeface="Verdana" panose="020B0604030504040204" pitchFamily="34" charset="0"/>
                        <a:cs typeface="Open Sans Light" panose="020B0306030504020204" pitchFamily="34" charset="0"/>
                      </a:endParaRPr>
                    </a:p>
                  </a:txBody>
                  <a:tcPr marL="80189" marR="80189" marT="40094" marB="4009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lnBlToTr w="12700" cmpd="sng">
                      <a:noFill/>
                      <a:prstDash val="solid"/>
                    </a:lnBlToTr>
                    <a:noFill/>
                  </a:tcPr>
                </a:tc>
                <a:tc>
                  <a:txBody>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Verdana" panose="020B0604030504040204" pitchFamily="34" charset="0"/>
                          <a:ea typeface="Verdana" panose="020B0604030504040204" pitchFamily="34" charset="0"/>
                          <a:cs typeface="Open Sans Light" panose="020B0306030504020204" pitchFamily="34" charset="0"/>
                        </a:rPr>
                        <a:t>Janvier</a:t>
                      </a:r>
                    </a:p>
                  </a:txBody>
                  <a:tcPr marL="80189" marR="80189" marT="40094" marB="40094" anchor="ctr">
                    <a:lnL w="12700" cap="flat" cmpd="sng" algn="ctr">
                      <a:solidFill>
                        <a:schemeClr val="tx1"/>
                      </a:solidFill>
                      <a:prstDash val="solid"/>
                      <a:round/>
                      <a:headEnd type="none" w="med" len="med"/>
                      <a:tailEnd type="none" w="med" len="med"/>
                    </a:lnL>
                    <a:lnR w="6350"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1">
                        <a:lumMod val="75000"/>
                      </a:schemeClr>
                    </a:solidFill>
                  </a:tcPr>
                </a:tc>
                <a:tc>
                  <a:txBody>
                    <a:bodyPr/>
                    <a:lstStyle>
                      <a:lvl1pPr marL="0" algn="l" defTabSz="914330" rtl="0" eaLnBrk="1" latinLnBrk="0" hangingPunct="1">
                        <a:defRPr sz="1800" b="1" kern="1200">
                          <a:solidFill>
                            <a:schemeClr val="lt1"/>
                          </a:solidFill>
                          <a:latin typeface="Calibri" panose="020F0502020204030204"/>
                        </a:defRPr>
                      </a:lvl1pPr>
                      <a:lvl2pPr marL="457166" algn="l" defTabSz="914330" rtl="0" eaLnBrk="1" latinLnBrk="0" hangingPunct="1">
                        <a:defRPr sz="1800" b="1" kern="1200">
                          <a:solidFill>
                            <a:schemeClr val="lt1"/>
                          </a:solidFill>
                          <a:latin typeface="Calibri" panose="020F0502020204030204"/>
                        </a:defRPr>
                      </a:lvl2pPr>
                      <a:lvl3pPr marL="914330" algn="l" defTabSz="914330" rtl="0" eaLnBrk="1" latinLnBrk="0" hangingPunct="1">
                        <a:defRPr sz="1800" b="1" kern="1200">
                          <a:solidFill>
                            <a:schemeClr val="lt1"/>
                          </a:solidFill>
                          <a:latin typeface="Calibri" panose="020F0502020204030204"/>
                        </a:defRPr>
                      </a:lvl3pPr>
                      <a:lvl4pPr marL="1371496" algn="l" defTabSz="914330" rtl="0" eaLnBrk="1" latinLnBrk="0" hangingPunct="1">
                        <a:defRPr sz="1800" b="1" kern="1200">
                          <a:solidFill>
                            <a:schemeClr val="lt1"/>
                          </a:solidFill>
                          <a:latin typeface="Calibri" panose="020F0502020204030204"/>
                        </a:defRPr>
                      </a:lvl4pPr>
                      <a:lvl5pPr marL="1828662" algn="l" defTabSz="914330" rtl="0" eaLnBrk="1" latinLnBrk="0" hangingPunct="1">
                        <a:defRPr sz="1800" b="1" kern="1200">
                          <a:solidFill>
                            <a:schemeClr val="lt1"/>
                          </a:solidFill>
                          <a:latin typeface="Calibri" panose="020F0502020204030204"/>
                        </a:defRPr>
                      </a:lvl5pPr>
                      <a:lvl6pPr marL="2285827" algn="l" defTabSz="914330" rtl="0" eaLnBrk="1" latinLnBrk="0" hangingPunct="1">
                        <a:defRPr sz="1800" b="1" kern="1200">
                          <a:solidFill>
                            <a:schemeClr val="lt1"/>
                          </a:solidFill>
                          <a:latin typeface="Calibri" panose="020F0502020204030204"/>
                        </a:defRPr>
                      </a:lvl6pPr>
                      <a:lvl7pPr marL="2742993" algn="l" defTabSz="914330" rtl="0" eaLnBrk="1" latinLnBrk="0" hangingPunct="1">
                        <a:defRPr sz="1800" b="1" kern="1200">
                          <a:solidFill>
                            <a:schemeClr val="lt1"/>
                          </a:solidFill>
                          <a:latin typeface="Calibri" panose="020F0502020204030204"/>
                        </a:defRPr>
                      </a:lvl7pPr>
                      <a:lvl8pPr marL="3200159" algn="l" defTabSz="914330" rtl="0" eaLnBrk="1" latinLnBrk="0" hangingPunct="1">
                        <a:defRPr sz="1800" b="1" kern="1200">
                          <a:solidFill>
                            <a:schemeClr val="lt1"/>
                          </a:solidFill>
                          <a:latin typeface="Calibri" panose="020F0502020204030204"/>
                        </a:defRPr>
                      </a:lvl8pPr>
                      <a:lvl9pPr marL="3657323" algn="l" defTabSz="914330" rtl="0" eaLnBrk="1" latinLnBrk="0" hangingPunct="1">
                        <a:defRPr sz="1800" b="1" kern="1200">
                          <a:solidFill>
                            <a:schemeClr val="lt1"/>
                          </a:solidFill>
                          <a:latin typeface="Calibri" panose="020F0502020204030204"/>
                        </a:defRPr>
                      </a:lvl9p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fr-FR" sz="1100" b="1" kern="1200" noProof="0" dirty="0">
                          <a:solidFill>
                            <a:schemeClr val="bg1"/>
                          </a:solidFill>
                          <a:latin typeface="Verdana" panose="020B0604030504040204" pitchFamily="34" charset="0"/>
                          <a:ea typeface="Verdana" panose="020B0604030504040204" pitchFamily="34" charset="0"/>
                          <a:cs typeface="Open Sans Light" panose="020B0306030504020204" pitchFamily="34" charset="0"/>
                        </a:rPr>
                        <a:t>Février</a:t>
                      </a:r>
                    </a:p>
                  </a:txBody>
                  <a:tcPr marL="0" marR="0" marT="40094" marB="40094" anchor="ctr">
                    <a:lnL w="6350" cap="flat" cmpd="sng" algn="ctr">
                      <a:solidFill>
                        <a:schemeClr val="bg1"/>
                      </a:solidFill>
                      <a:prstDash val="sysDot"/>
                      <a:round/>
                      <a:headEnd type="none" w="med" len="med"/>
                      <a:tailEnd type="none" w="med" len="med"/>
                    </a:lnL>
                    <a:lnR w="6350" cap="flat" cmpd="sng" algn="ctr">
                      <a:solidFill>
                        <a:sysClr val="window" lastClr="FFFFFF"/>
                      </a:solidFill>
                      <a:prstDash val="sysDot"/>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330" rtl="0" eaLnBrk="1" latinLnBrk="0" hangingPunct="1">
                        <a:defRPr sz="1800" b="1" kern="1200">
                          <a:solidFill>
                            <a:schemeClr val="lt1"/>
                          </a:solidFill>
                          <a:latin typeface="Calibri" panose="020F0502020204030204"/>
                        </a:defRPr>
                      </a:lvl1pPr>
                      <a:lvl2pPr marL="457166" algn="l" defTabSz="914330" rtl="0" eaLnBrk="1" latinLnBrk="0" hangingPunct="1">
                        <a:defRPr sz="1800" b="1" kern="1200">
                          <a:solidFill>
                            <a:schemeClr val="lt1"/>
                          </a:solidFill>
                          <a:latin typeface="Calibri" panose="020F0502020204030204"/>
                        </a:defRPr>
                      </a:lvl2pPr>
                      <a:lvl3pPr marL="914330" algn="l" defTabSz="914330" rtl="0" eaLnBrk="1" latinLnBrk="0" hangingPunct="1">
                        <a:defRPr sz="1800" b="1" kern="1200">
                          <a:solidFill>
                            <a:schemeClr val="lt1"/>
                          </a:solidFill>
                          <a:latin typeface="Calibri" panose="020F0502020204030204"/>
                        </a:defRPr>
                      </a:lvl3pPr>
                      <a:lvl4pPr marL="1371496" algn="l" defTabSz="914330" rtl="0" eaLnBrk="1" latinLnBrk="0" hangingPunct="1">
                        <a:defRPr sz="1800" b="1" kern="1200">
                          <a:solidFill>
                            <a:schemeClr val="lt1"/>
                          </a:solidFill>
                          <a:latin typeface="Calibri" panose="020F0502020204030204"/>
                        </a:defRPr>
                      </a:lvl4pPr>
                      <a:lvl5pPr marL="1828662" algn="l" defTabSz="914330" rtl="0" eaLnBrk="1" latinLnBrk="0" hangingPunct="1">
                        <a:defRPr sz="1800" b="1" kern="1200">
                          <a:solidFill>
                            <a:schemeClr val="lt1"/>
                          </a:solidFill>
                          <a:latin typeface="Calibri" panose="020F0502020204030204"/>
                        </a:defRPr>
                      </a:lvl5pPr>
                      <a:lvl6pPr marL="2285827" algn="l" defTabSz="914330" rtl="0" eaLnBrk="1" latinLnBrk="0" hangingPunct="1">
                        <a:defRPr sz="1800" b="1" kern="1200">
                          <a:solidFill>
                            <a:schemeClr val="lt1"/>
                          </a:solidFill>
                          <a:latin typeface="Calibri" panose="020F0502020204030204"/>
                        </a:defRPr>
                      </a:lvl6pPr>
                      <a:lvl7pPr marL="2742993" algn="l" defTabSz="914330" rtl="0" eaLnBrk="1" latinLnBrk="0" hangingPunct="1">
                        <a:defRPr sz="1800" b="1" kern="1200">
                          <a:solidFill>
                            <a:schemeClr val="lt1"/>
                          </a:solidFill>
                          <a:latin typeface="Calibri" panose="020F0502020204030204"/>
                        </a:defRPr>
                      </a:lvl7pPr>
                      <a:lvl8pPr marL="3200159" algn="l" defTabSz="914330" rtl="0" eaLnBrk="1" latinLnBrk="0" hangingPunct="1">
                        <a:defRPr sz="1800" b="1" kern="1200">
                          <a:solidFill>
                            <a:schemeClr val="lt1"/>
                          </a:solidFill>
                          <a:latin typeface="Calibri" panose="020F0502020204030204"/>
                        </a:defRPr>
                      </a:lvl8pPr>
                      <a:lvl9pPr marL="3657323" algn="l" defTabSz="914330" rtl="0" eaLnBrk="1" latinLnBrk="0" hangingPunct="1">
                        <a:defRPr sz="1800" b="1" kern="1200">
                          <a:solidFill>
                            <a:schemeClr val="lt1"/>
                          </a:solidFill>
                          <a:latin typeface="Calibri" panose="020F0502020204030204"/>
                        </a:defRPr>
                      </a:lvl9p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1100" b="1" kern="1200" noProof="0" dirty="0">
                          <a:solidFill>
                            <a:schemeClr val="bg1"/>
                          </a:solidFill>
                          <a:latin typeface="Verdana" panose="020B0604030504040204" pitchFamily="34" charset="0"/>
                          <a:ea typeface="Verdana" panose="020B0604030504040204" pitchFamily="34" charset="0"/>
                          <a:cs typeface="Open Sans Light" panose="020B0306030504020204" pitchFamily="34" charset="0"/>
                        </a:rPr>
                        <a:t>Mars</a:t>
                      </a:r>
                    </a:p>
                  </a:txBody>
                  <a:tcPr marL="0" marR="0" marT="40094" marB="40094" anchor="ctr">
                    <a:lnL w="6350" cap="flat" cmpd="sng" algn="ctr">
                      <a:solidFill>
                        <a:sysClr val="window" lastClr="FFFFFF"/>
                      </a:solidFill>
                      <a:prstDash val="sysDot"/>
                      <a:round/>
                      <a:headEnd type="none" w="med" len="med"/>
                      <a:tailEnd type="none" w="med" len="med"/>
                    </a:lnL>
                    <a:lnR w="6350" cap="flat" cmpd="sng" algn="ctr">
                      <a:solidFill>
                        <a:sysClr val="window" lastClr="FFFFFF"/>
                      </a:solidFill>
                      <a:prstDash val="sysDot"/>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330" rtl="0" eaLnBrk="1" latinLnBrk="0" hangingPunct="1">
                        <a:defRPr sz="1800" b="1" kern="1200">
                          <a:solidFill>
                            <a:schemeClr val="lt1"/>
                          </a:solidFill>
                          <a:latin typeface="Calibri" panose="020F0502020204030204"/>
                        </a:defRPr>
                      </a:lvl1pPr>
                      <a:lvl2pPr marL="457166" algn="l" defTabSz="914330" rtl="0" eaLnBrk="1" latinLnBrk="0" hangingPunct="1">
                        <a:defRPr sz="1800" b="1" kern="1200">
                          <a:solidFill>
                            <a:schemeClr val="lt1"/>
                          </a:solidFill>
                          <a:latin typeface="Calibri" panose="020F0502020204030204"/>
                        </a:defRPr>
                      </a:lvl2pPr>
                      <a:lvl3pPr marL="914330" algn="l" defTabSz="914330" rtl="0" eaLnBrk="1" latinLnBrk="0" hangingPunct="1">
                        <a:defRPr sz="1800" b="1" kern="1200">
                          <a:solidFill>
                            <a:schemeClr val="lt1"/>
                          </a:solidFill>
                          <a:latin typeface="Calibri" panose="020F0502020204030204"/>
                        </a:defRPr>
                      </a:lvl3pPr>
                      <a:lvl4pPr marL="1371496" algn="l" defTabSz="914330" rtl="0" eaLnBrk="1" latinLnBrk="0" hangingPunct="1">
                        <a:defRPr sz="1800" b="1" kern="1200">
                          <a:solidFill>
                            <a:schemeClr val="lt1"/>
                          </a:solidFill>
                          <a:latin typeface="Calibri" panose="020F0502020204030204"/>
                        </a:defRPr>
                      </a:lvl4pPr>
                      <a:lvl5pPr marL="1828662" algn="l" defTabSz="914330" rtl="0" eaLnBrk="1" latinLnBrk="0" hangingPunct="1">
                        <a:defRPr sz="1800" b="1" kern="1200">
                          <a:solidFill>
                            <a:schemeClr val="lt1"/>
                          </a:solidFill>
                          <a:latin typeface="Calibri" panose="020F0502020204030204"/>
                        </a:defRPr>
                      </a:lvl5pPr>
                      <a:lvl6pPr marL="2285827" algn="l" defTabSz="914330" rtl="0" eaLnBrk="1" latinLnBrk="0" hangingPunct="1">
                        <a:defRPr sz="1800" b="1" kern="1200">
                          <a:solidFill>
                            <a:schemeClr val="lt1"/>
                          </a:solidFill>
                          <a:latin typeface="Calibri" panose="020F0502020204030204"/>
                        </a:defRPr>
                      </a:lvl6pPr>
                      <a:lvl7pPr marL="2742993" algn="l" defTabSz="914330" rtl="0" eaLnBrk="1" latinLnBrk="0" hangingPunct="1">
                        <a:defRPr sz="1800" b="1" kern="1200">
                          <a:solidFill>
                            <a:schemeClr val="lt1"/>
                          </a:solidFill>
                          <a:latin typeface="Calibri" panose="020F0502020204030204"/>
                        </a:defRPr>
                      </a:lvl7pPr>
                      <a:lvl8pPr marL="3200159" algn="l" defTabSz="914330" rtl="0" eaLnBrk="1" latinLnBrk="0" hangingPunct="1">
                        <a:defRPr sz="1800" b="1" kern="1200">
                          <a:solidFill>
                            <a:schemeClr val="lt1"/>
                          </a:solidFill>
                          <a:latin typeface="Calibri" panose="020F0502020204030204"/>
                        </a:defRPr>
                      </a:lvl8pPr>
                      <a:lvl9pPr marL="3657323" algn="l" defTabSz="914330" rtl="0" eaLnBrk="1" latinLnBrk="0" hangingPunct="1">
                        <a:defRPr sz="1800" b="1" kern="1200">
                          <a:solidFill>
                            <a:schemeClr val="lt1"/>
                          </a:solidFill>
                          <a:latin typeface="Calibri" panose="020F0502020204030204"/>
                        </a:defRPr>
                      </a:lvl9p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1100" b="1" kern="1200" noProof="0" dirty="0">
                          <a:solidFill>
                            <a:schemeClr val="bg1"/>
                          </a:solidFill>
                          <a:latin typeface="Verdana" panose="020B0604030504040204" pitchFamily="34" charset="0"/>
                          <a:ea typeface="Verdana" panose="020B0604030504040204" pitchFamily="34" charset="0"/>
                          <a:cs typeface="Open Sans Light" panose="020B0306030504020204" pitchFamily="34" charset="0"/>
                        </a:rPr>
                        <a:t>Avril</a:t>
                      </a:r>
                    </a:p>
                  </a:txBody>
                  <a:tcPr marL="0" marR="0" marT="40094" marB="40094" anchor="ctr">
                    <a:lnL w="6350" cap="flat" cmpd="sng" algn="ctr">
                      <a:solidFill>
                        <a:sysClr val="window" lastClr="FFFFFF"/>
                      </a:solidFill>
                      <a:prstDash val="sysDot"/>
                      <a:round/>
                      <a:headEnd type="none" w="med" len="med"/>
                      <a:tailEnd type="none" w="med" len="med"/>
                    </a:lnL>
                    <a:lnR w="6350" cap="flat" cmpd="sng" algn="ctr">
                      <a:solidFill>
                        <a:sysClr val="window" lastClr="FFFFFF"/>
                      </a:solidFill>
                      <a:prstDash val="sysDot"/>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330" rtl="0" eaLnBrk="1" latinLnBrk="0" hangingPunct="1">
                        <a:defRPr sz="1800" b="1" kern="1200">
                          <a:solidFill>
                            <a:schemeClr val="lt1"/>
                          </a:solidFill>
                          <a:latin typeface="Calibri" panose="020F0502020204030204"/>
                        </a:defRPr>
                      </a:lvl1pPr>
                      <a:lvl2pPr marL="457166" algn="l" defTabSz="914330" rtl="0" eaLnBrk="1" latinLnBrk="0" hangingPunct="1">
                        <a:defRPr sz="1800" b="1" kern="1200">
                          <a:solidFill>
                            <a:schemeClr val="lt1"/>
                          </a:solidFill>
                          <a:latin typeface="Calibri" panose="020F0502020204030204"/>
                        </a:defRPr>
                      </a:lvl2pPr>
                      <a:lvl3pPr marL="914330" algn="l" defTabSz="914330" rtl="0" eaLnBrk="1" latinLnBrk="0" hangingPunct="1">
                        <a:defRPr sz="1800" b="1" kern="1200">
                          <a:solidFill>
                            <a:schemeClr val="lt1"/>
                          </a:solidFill>
                          <a:latin typeface="Calibri" panose="020F0502020204030204"/>
                        </a:defRPr>
                      </a:lvl3pPr>
                      <a:lvl4pPr marL="1371496" algn="l" defTabSz="914330" rtl="0" eaLnBrk="1" latinLnBrk="0" hangingPunct="1">
                        <a:defRPr sz="1800" b="1" kern="1200">
                          <a:solidFill>
                            <a:schemeClr val="lt1"/>
                          </a:solidFill>
                          <a:latin typeface="Calibri" panose="020F0502020204030204"/>
                        </a:defRPr>
                      </a:lvl4pPr>
                      <a:lvl5pPr marL="1828662" algn="l" defTabSz="914330" rtl="0" eaLnBrk="1" latinLnBrk="0" hangingPunct="1">
                        <a:defRPr sz="1800" b="1" kern="1200">
                          <a:solidFill>
                            <a:schemeClr val="lt1"/>
                          </a:solidFill>
                          <a:latin typeface="Calibri" panose="020F0502020204030204"/>
                        </a:defRPr>
                      </a:lvl5pPr>
                      <a:lvl6pPr marL="2285827" algn="l" defTabSz="914330" rtl="0" eaLnBrk="1" latinLnBrk="0" hangingPunct="1">
                        <a:defRPr sz="1800" b="1" kern="1200">
                          <a:solidFill>
                            <a:schemeClr val="lt1"/>
                          </a:solidFill>
                          <a:latin typeface="Calibri" panose="020F0502020204030204"/>
                        </a:defRPr>
                      </a:lvl6pPr>
                      <a:lvl7pPr marL="2742993" algn="l" defTabSz="914330" rtl="0" eaLnBrk="1" latinLnBrk="0" hangingPunct="1">
                        <a:defRPr sz="1800" b="1" kern="1200">
                          <a:solidFill>
                            <a:schemeClr val="lt1"/>
                          </a:solidFill>
                          <a:latin typeface="Calibri" panose="020F0502020204030204"/>
                        </a:defRPr>
                      </a:lvl7pPr>
                      <a:lvl8pPr marL="3200159" algn="l" defTabSz="914330" rtl="0" eaLnBrk="1" latinLnBrk="0" hangingPunct="1">
                        <a:defRPr sz="1800" b="1" kern="1200">
                          <a:solidFill>
                            <a:schemeClr val="lt1"/>
                          </a:solidFill>
                          <a:latin typeface="Calibri" panose="020F0502020204030204"/>
                        </a:defRPr>
                      </a:lvl8pPr>
                      <a:lvl9pPr marL="3657323" algn="l" defTabSz="914330" rtl="0" eaLnBrk="1" latinLnBrk="0" hangingPunct="1">
                        <a:defRPr sz="1800" b="1" kern="1200">
                          <a:solidFill>
                            <a:schemeClr val="lt1"/>
                          </a:solidFill>
                          <a:latin typeface="Calibri" panose="020F0502020204030204"/>
                        </a:defRPr>
                      </a:lvl9p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1100" b="1" kern="1200" noProof="0" dirty="0">
                          <a:solidFill>
                            <a:schemeClr val="bg1"/>
                          </a:solidFill>
                          <a:latin typeface="Verdana" panose="020B0604030504040204" pitchFamily="34" charset="0"/>
                          <a:ea typeface="Verdana" panose="020B0604030504040204" pitchFamily="34" charset="0"/>
                          <a:cs typeface="Open Sans Light" panose="020B0306030504020204" pitchFamily="34" charset="0"/>
                        </a:rPr>
                        <a:t>Mai</a:t>
                      </a:r>
                    </a:p>
                  </a:txBody>
                  <a:tcPr marL="0" marR="0" marT="40094" marB="40094" anchor="ctr">
                    <a:lnL w="6350" cap="flat" cmpd="sng" algn="ctr">
                      <a:solidFill>
                        <a:sysClr val="window" lastClr="FFFFFF"/>
                      </a:solidFill>
                      <a:prstDash val="sysDot"/>
                      <a:round/>
                      <a:headEnd type="none" w="med" len="med"/>
                      <a:tailEnd type="none" w="med" len="med"/>
                    </a:lnL>
                    <a:lnR w="6350" cap="flat" cmpd="sng" algn="ctr">
                      <a:solidFill>
                        <a:sysClr val="window" lastClr="FFFFFF"/>
                      </a:solidFill>
                      <a:prstDash val="sysDot"/>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330" rtl="0" eaLnBrk="1" latinLnBrk="0" hangingPunct="1">
                        <a:defRPr sz="1800" b="1" kern="1200">
                          <a:solidFill>
                            <a:schemeClr val="lt1"/>
                          </a:solidFill>
                          <a:latin typeface="Calibri" panose="020F0502020204030204"/>
                        </a:defRPr>
                      </a:lvl1pPr>
                      <a:lvl2pPr marL="457166" algn="l" defTabSz="914330" rtl="0" eaLnBrk="1" latinLnBrk="0" hangingPunct="1">
                        <a:defRPr sz="1800" b="1" kern="1200">
                          <a:solidFill>
                            <a:schemeClr val="lt1"/>
                          </a:solidFill>
                          <a:latin typeface="Calibri" panose="020F0502020204030204"/>
                        </a:defRPr>
                      </a:lvl2pPr>
                      <a:lvl3pPr marL="914330" algn="l" defTabSz="914330" rtl="0" eaLnBrk="1" latinLnBrk="0" hangingPunct="1">
                        <a:defRPr sz="1800" b="1" kern="1200">
                          <a:solidFill>
                            <a:schemeClr val="lt1"/>
                          </a:solidFill>
                          <a:latin typeface="Calibri" panose="020F0502020204030204"/>
                        </a:defRPr>
                      </a:lvl3pPr>
                      <a:lvl4pPr marL="1371496" algn="l" defTabSz="914330" rtl="0" eaLnBrk="1" latinLnBrk="0" hangingPunct="1">
                        <a:defRPr sz="1800" b="1" kern="1200">
                          <a:solidFill>
                            <a:schemeClr val="lt1"/>
                          </a:solidFill>
                          <a:latin typeface="Calibri" panose="020F0502020204030204"/>
                        </a:defRPr>
                      </a:lvl4pPr>
                      <a:lvl5pPr marL="1828662" algn="l" defTabSz="914330" rtl="0" eaLnBrk="1" latinLnBrk="0" hangingPunct="1">
                        <a:defRPr sz="1800" b="1" kern="1200">
                          <a:solidFill>
                            <a:schemeClr val="lt1"/>
                          </a:solidFill>
                          <a:latin typeface="Calibri" panose="020F0502020204030204"/>
                        </a:defRPr>
                      </a:lvl5pPr>
                      <a:lvl6pPr marL="2285827" algn="l" defTabSz="914330" rtl="0" eaLnBrk="1" latinLnBrk="0" hangingPunct="1">
                        <a:defRPr sz="1800" b="1" kern="1200">
                          <a:solidFill>
                            <a:schemeClr val="lt1"/>
                          </a:solidFill>
                          <a:latin typeface="Calibri" panose="020F0502020204030204"/>
                        </a:defRPr>
                      </a:lvl6pPr>
                      <a:lvl7pPr marL="2742993" algn="l" defTabSz="914330" rtl="0" eaLnBrk="1" latinLnBrk="0" hangingPunct="1">
                        <a:defRPr sz="1800" b="1" kern="1200">
                          <a:solidFill>
                            <a:schemeClr val="lt1"/>
                          </a:solidFill>
                          <a:latin typeface="Calibri" panose="020F0502020204030204"/>
                        </a:defRPr>
                      </a:lvl7pPr>
                      <a:lvl8pPr marL="3200159" algn="l" defTabSz="914330" rtl="0" eaLnBrk="1" latinLnBrk="0" hangingPunct="1">
                        <a:defRPr sz="1800" b="1" kern="1200">
                          <a:solidFill>
                            <a:schemeClr val="lt1"/>
                          </a:solidFill>
                          <a:latin typeface="Calibri" panose="020F0502020204030204"/>
                        </a:defRPr>
                      </a:lvl8pPr>
                      <a:lvl9pPr marL="3657323" algn="l" defTabSz="914330" rtl="0" eaLnBrk="1" latinLnBrk="0" hangingPunct="1">
                        <a:defRPr sz="1800" b="1" kern="1200">
                          <a:solidFill>
                            <a:schemeClr val="lt1"/>
                          </a:solidFill>
                          <a:latin typeface="Calibri" panose="020F0502020204030204"/>
                        </a:defRPr>
                      </a:lvl9p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fr-FR" sz="1100" b="1" kern="1200" noProof="0" dirty="0">
                          <a:solidFill>
                            <a:schemeClr val="bg1"/>
                          </a:solidFill>
                          <a:latin typeface="Verdana" panose="020B0604030504040204" pitchFamily="34" charset="0"/>
                          <a:ea typeface="Verdana" panose="020B0604030504040204" pitchFamily="34" charset="0"/>
                          <a:cs typeface="Open Sans Light" panose="020B0306030504020204" pitchFamily="34" charset="0"/>
                        </a:rPr>
                        <a:t>Juin</a:t>
                      </a:r>
                    </a:p>
                  </a:txBody>
                  <a:tcPr marL="0" marR="0" marT="40094" marB="40094" anchor="ctr">
                    <a:lnL w="6350" cap="flat" cmpd="sng" algn="ctr">
                      <a:solidFill>
                        <a:sysClr val="window" lastClr="FFFFFF"/>
                      </a:solidFill>
                      <a:prstDash val="sysDot"/>
                      <a:round/>
                      <a:headEnd type="none" w="med" len="med"/>
                      <a:tailEnd type="none" w="med" len="med"/>
                    </a:lnL>
                    <a:lnR w="6350" cap="flat" cmpd="sng" algn="ctr">
                      <a:solidFill>
                        <a:sysClr val="window" lastClr="FFFFFF"/>
                      </a:solidFill>
                      <a:prstDash val="sysDot"/>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fr-FR" sz="1100" b="1" kern="1200" noProof="0" dirty="0">
                          <a:solidFill>
                            <a:schemeClr val="bg1"/>
                          </a:solidFill>
                          <a:latin typeface="Verdana" panose="020B0604030504040204" pitchFamily="34" charset="0"/>
                          <a:ea typeface="Verdana" panose="020B0604030504040204" pitchFamily="34" charset="0"/>
                          <a:cs typeface="Open Sans Light" panose="020B0306030504020204" pitchFamily="34" charset="0"/>
                        </a:rPr>
                        <a:t>Juillet</a:t>
                      </a:r>
                    </a:p>
                  </a:txBody>
                  <a:tcPr marL="0" marR="0" marT="40094" marB="40094" anchor="ctr">
                    <a:lnL w="6350" cap="flat" cmpd="sng" algn="ctr">
                      <a:solidFill>
                        <a:sysClr val="window" lastClr="FFFFFF"/>
                      </a:solidFill>
                      <a:prstDash val="sysDot"/>
                      <a:round/>
                      <a:headEnd type="none" w="med" len="med"/>
                      <a:tailEnd type="none" w="med" len="med"/>
                    </a:lnL>
                    <a:lnR w="6350" cap="flat" cmpd="sng" algn="ctr">
                      <a:solidFill>
                        <a:sysClr val="window" lastClr="FFFFFF"/>
                      </a:solidFill>
                      <a:prstDash val="sysDot"/>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2051750995"/>
                  </a:ext>
                </a:extLst>
              </a:tr>
              <a:tr h="616369">
                <a:tc>
                  <a:txBody>
                    <a:bodyPr/>
                    <a:lstStyle/>
                    <a:p>
                      <a:pPr marL="0" marR="0" lvl="0" indent="0" algn="just" defTabSz="914330" rtl="0" eaLnBrk="1" fontAlgn="ctr" latinLnBrk="0" hangingPunct="1">
                        <a:lnSpc>
                          <a:spcPct val="100000"/>
                        </a:lnSpc>
                        <a:spcBef>
                          <a:spcPts val="0"/>
                        </a:spcBef>
                        <a:spcAft>
                          <a:spcPts val="0"/>
                        </a:spcAft>
                        <a:buClrTx/>
                        <a:buSzTx/>
                        <a:buFontTx/>
                        <a:buNone/>
                        <a:tabLst/>
                        <a:defRPr/>
                      </a:pPr>
                      <a:r>
                        <a:rPr lang="fr-FR" sz="900" b="0" i="0" u="none" strike="noStrike" noProof="0" dirty="0">
                          <a:solidFill>
                            <a:srgbClr val="000000"/>
                          </a:solidFill>
                          <a:effectLst/>
                          <a:latin typeface="Verdana" panose="020B0604030504040204" pitchFamily="34" charset="0"/>
                          <a:ea typeface="Verdana" panose="020B0604030504040204" pitchFamily="34" charset="0"/>
                        </a:rPr>
                        <a:t>Mise en contexte &amp; analyse de l’environnement client</a:t>
                      </a:r>
                    </a:p>
                  </a:txBody>
                  <a:tcPr marL="31570" marR="31570" marT="31570" marB="31570"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330" rtl="0" eaLnBrk="1" fontAlgn="ctr" latinLnBrk="0" hangingPunct="1">
                        <a:lnSpc>
                          <a:spcPct val="100000"/>
                        </a:lnSpc>
                        <a:spcBef>
                          <a:spcPts val="0"/>
                        </a:spcBef>
                        <a:spcAft>
                          <a:spcPts val="0"/>
                        </a:spcAft>
                        <a:buClrTx/>
                        <a:buSzTx/>
                        <a:buFontTx/>
                        <a:buNone/>
                        <a:tabLst/>
                        <a:defRPr/>
                      </a:pPr>
                      <a:endParaRPr lang="en-US" sz="700" b="0" i="1" u="none" strike="noStrike" noProof="0" dirty="0">
                        <a:solidFill>
                          <a:srgbClr val="000000"/>
                        </a:solidFill>
                        <a:effectLst/>
                        <a:latin typeface="+mn-lt"/>
                      </a:endParaRPr>
                    </a:p>
                  </a:txBody>
                  <a:tcPr marL="31570" marR="31570" marT="31570" marB="31570" anchor="ctr">
                    <a:lnL w="12700" cap="flat" cmpd="sng" algn="ctr">
                      <a:solidFill>
                        <a:sysClr val="windowText" lastClr="000000"/>
                      </a:solidFill>
                      <a:prstDash val="solid"/>
                      <a:round/>
                      <a:headEnd type="none" w="med" len="med"/>
                      <a:tailEnd type="none" w="med" len="med"/>
                    </a:lnL>
                    <a:lnR w="6350" cap="flat" cmpd="sng" algn="ctr">
                      <a:solidFill>
                        <a:schemeClr val="bg2">
                          <a:lumMod val="75000"/>
                        </a:schemeClr>
                      </a:solidFill>
                      <a:prstDash val="dot"/>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chemeClr val="bg2">
                          <a:lumMod val="75000"/>
                        </a:scheme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rgbClr val="FFC000"/>
                        </a:solidFill>
                        <a:highlight>
                          <a:srgbClr val="FFFF00"/>
                        </a:highlight>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15605107"/>
                  </a:ext>
                </a:extLst>
              </a:tr>
              <a:tr h="559726">
                <a:tc>
                  <a:txBody>
                    <a:bodyPr/>
                    <a:lstStyle/>
                    <a:p>
                      <a:pPr algn="just" fontAlgn="ctr"/>
                      <a:r>
                        <a:rPr lang="fr-FR" sz="900" b="0" i="0" u="none" strike="noStrike" noProof="0" dirty="0">
                          <a:solidFill>
                            <a:srgbClr val="000000"/>
                          </a:solidFill>
                          <a:effectLst/>
                          <a:latin typeface="Verdana" panose="020B0604030504040204" pitchFamily="34" charset="0"/>
                          <a:ea typeface="Verdana" panose="020B0604030504040204" pitchFamily="34" charset="0"/>
                        </a:rPr>
                        <a:t>Analyse de la gouvernance IAM</a:t>
                      </a:r>
                    </a:p>
                  </a:txBody>
                  <a:tcPr marL="31570" marR="31570" marT="31570" marB="31570"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fontAlgn="ctr"/>
                      <a:endParaRPr lang="en-US" sz="700" b="0" i="1" u="none" strike="noStrike" noProof="0" dirty="0">
                        <a:solidFill>
                          <a:srgbClr val="000000"/>
                        </a:solidFill>
                        <a:effectLst/>
                        <a:latin typeface="+mn-lt"/>
                      </a:endParaRPr>
                    </a:p>
                  </a:txBody>
                  <a:tcPr marL="31570" marR="31570" marT="31570" marB="31570" anchor="ctr">
                    <a:lnL w="12700" cap="flat" cmpd="sng" algn="ctr">
                      <a:solidFill>
                        <a:sysClr val="windowText" lastClr="000000"/>
                      </a:solidFill>
                      <a:prstDash val="solid"/>
                      <a:round/>
                      <a:headEnd type="none" w="med" len="med"/>
                      <a:tailEnd type="none" w="med" len="med"/>
                    </a:lnL>
                    <a:lnR w="6350" cap="flat" cmpd="sng" algn="ctr">
                      <a:solidFill>
                        <a:schemeClr val="bg2">
                          <a:lumMod val="75000"/>
                        </a:schemeClr>
                      </a:solidFill>
                      <a:prstDash val="dot"/>
                      <a:round/>
                      <a:headEnd type="none" w="med" len="med"/>
                      <a:tailEnd type="none" w="med" len="med"/>
                    </a:lnR>
                    <a:lnT w="6350" cap="flat" cmpd="sng" algn="ctr">
                      <a:solidFill>
                        <a:schemeClr val="bg2">
                          <a:lumMod val="75000"/>
                        </a:schemeClr>
                      </a:solidFill>
                      <a:prstDash val="dot"/>
                      <a:round/>
                      <a:headEnd type="none" w="med" len="med"/>
                      <a:tailEnd type="none" w="med" len="med"/>
                    </a:lnT>
                    <a:lnB w="635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chemeClr val="bg2">
                          <a:lumMod val="75000"/>
                        </a:scheme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rgbClr val="FFC000"/>
                        </a:solidFill>
                        <a:highlight>
                          <a:srgbClr val="FFFF00"/>
                        </a:highlight>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26404908"/>
                  </a:ext>
                </a:extLst>
              </a:tr>
              <a:tr h="640098">
                <a:tc>
                  <a:txBody>
                    <a:bodyPr/>
                    <a:lstStyle/>
                    <a:p>
                      <a:pPr algn="just" fontAlgn="ctr"/>
                      <a:r>
                        <a:rPr lang="fr-FR" sz="900" b="0" i="0" u="none" strike="noStrike" noProof="0" dirty="0">
                          <a:solidFill>
                            <a:srgbClr val="000000"/>
                          </a:solidFill>
                          <a:effectLst/>
                          <a:latin typeface="Verdana" panose="020B0604030504040204" pitchFamily="34" charset="0"/>
                          <a:ea typeface="Verdana" panose="020B0604030504040204" pitchFamily="34" charset="0"/>
                        </a:rPr>
                        <a:t>Définition de la matrice RACI Active Directory</a:t>
                      </a:r>
                    </a:p>
                  </a:txBody>
                  <a:tcPr marL="31570" marR="31570" marT="31570" marB="31570"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fontAlgn="ctr"/>
                      <a:endParaRPr lang="en-US" sz="700" b="0" i="1" u="none" strike="noStrike" noProof="0" dirty="0">
                        <a:solidFill>
                          <a:srgbClr val="000000"/>
                        </a:solidFill>
                        <a:effectLst/>
                        <a:latin typeface="+mn-lt"/>
                      </a:endParaRPr>
                    </a:p>
                  </a:txBody>
                  <a:tcPr marL="31570" marR="31570" marT="31570" marB="31570" anchor="ctr">
                    <a:lnL w="12700" cap="flat" cmpd="sng" algn="ctr">
                      <a:solidFill>
                        <a:sysClr val="windowText" lastClr="000000"/>
                      </a:solidFill>
                      <a:prstDash val="solid"/>
                      <a:round/>
                      <a:headEnd type="none" w="med" len="med"/>
                      <a:tailEnd type="none" w="med" len="med"/>
                    </a:lnL>
                    <a:lnR w="6350" cap="flat" cmpd="sng" algn="ctr">
                      <a:solidFill>
                        <a:schemeClr val="bg2">
                          <a:lumMod val="75000"/>
                        </a:schemeClr>
                      </a:solidFill>
                      <a:prstDash val="dot"/>
                      <a:round/>
                      <a:headEnd type="none" w="med" len="med"/>
                      <a:tailEnd type="none" w="med" len="med"/>
                    </a:lnR>
                    <a:lnT w="6350" cap="flat" cmpd="sng" algn="ctr">
                      <a:solidFill>
                        <a:schemeClr val="bg2">
                          <a:lumMod val="75000"/>
                        </a:schemeClr>
                      </a:solidFill>
                      <a:prstDash val="dot"/>
                      <a:round/>
                      <a:headEnd type="none" w="med" len="med"/>
                      <a:tailEnd type="none" w="med" len="med"/>
                    </a:lnT>
                    <a:lnB w="635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chemeClr val="bg2">
                          <a:lumMod val="75000"/>
                        </a:scheme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rgbClr val="FFC000"/>
                        </a:solidFill>
                        <a:highlight>
                          <a:srgbClr val="FFFF00"/>
                        </a:highlight>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9258714"/>
                  </a:ext>
                </a:extLst>
              </a:tr>
              <a:tr h="681250">
                <a:tc>
                  <a:txBody>
                    <a:bodyPr/>
                    <a:lstStyle/>
                    <a:p>
                      <a:pPr algn="just" fontAlgn="ctr"/>
                      <a:r>
                        <a:rPr lang="fr-FR" sz="900" b="0" i="0" u="none" strike="noStrike" noProof="0" dirty="0">
                          <a:solidFill>
                            <a:srgbClr val="000000"/>
                          </a:solidFill>
                          <a:effectLst/>
                          <a:latin typeface="Verdana" panose="020B0604030504040204" pitchFamily="34" charset="0"/>
                          <a:ea typeface="Verdana" panose="020B0604030504040204" pitchFamily="34" charset="0"/>
                        </a:rPr>
                        <a:t>Définition des instances de gouvernances</a:t>
                      </a:r>
                    </a:p>
                  </a:txBody>
                  <a:tcPr marL="31570" marR="31570" marT="31570" marB="31570"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fontAlgn="ctr"/>
                      <a:endParaRPr lang="en-US" sz="700" b="0" i="1" u="none" strike="noStrike" noProof="0" dirty="0">
                        <a:solidFill>
                          <a:srgbClr val="000000"/>
                        </a:solidFill>
                        <a:effectLst/>
                        <a:latin typeface="+mn-lt"/>
                      </a:endParaRPr>
                    </a:p>
                  </a:txBody>
                  <a:tcPr marL="31570" marR="31570" marT="31570" marB="31570" anchor="ctr">
                    <a:lnL w="12700" cap="flat" cmpd="sng" algn="ctr">
                      <a:solidFill>
                        <a:sysClr val="windowText" lastClr="000000"/>
                      </a:solidFill>
                      <a:prstDash val="solid"/>
                      <a:round/>
                      <a:headEnd type="none" w="med" len="med"/>
                      <a:tailEnd type="none" w="med" len="med"/>
                    </a:lnL>
                    <a:lnR w="6350" cap="flat" cmpd="sng" algn="ctr">
                      <a:solidFill>
                        <a:schemeClr val="bg2">
                          <a:lumMod val="75000"/>
                        </a:schemeClr>
                      </a:solidFill>
                      <a:prstDash val="dot"/>
                      <a:round/>
                      <a:headEnd type="none" w="med" len="med"/>
                      <a:tailEnd type="none" w="med" len="med"/>
                    </a:lnR>
                    <a:lnT w="6350" cap="flat" cmpd="sng" algn="ctr">
                      <a:solidFill>
                        <a:schemeClr val="bg2">
                          <a:lumMod val="75000"/>
                        </a:schemeClr>
                      </a:solidFill>
                      <a:prstDash val="dot"/>
                      <a:round/>
                      <a:headEnd type="none" w="med" len="med"/>
                      <a:tailEnd type="none" w="med" len="med"/>
                    </a:lnT>
                    <a:lnB w="635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chemeClr val="bg2">
                          <a:lumMod val="75000"/>
                        </a:scheme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rgbClr val="FFC000"/>
                        </a:solidFill>
                        <a:highlight>
                          <a:srgbClr val="FFFF00"/>
                        </a:highlight>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331418"/>
                  </a:ext>
                </a:extLst>
              </a:tr>
              <a:tr h="681250">
                <a:tc>
                  <a:txBody>
                    <a:bodyPr/>
                    <a:lstStyle/>
                    <a:p>
                      <a:pPr algn="just" fontAlgn="ctr"/>
                      <a:r>
                        <a:rPr lang="fr-FR" sz="900" b="0" i="0" u="none" strike="noStrike" noProof="0" dirty="0">
                          <a:solidFill>
                            <a:srgbClr val="000000"/>
                          </a:solidFill>
                          <a:effectLst/>
                          <a:latin typeface="Verdana" panose="020B0604030504040204" pitchFamily="34" charset="0"/>
                          <a:ea typeface="Verdana" panose="020B0604030504040204" pitchFamily="34" charset="0"/>
                        </a:rPr>
                        <a:t>Evaluation de la maturité AD</a:t>
                      </a:r>
                    </a:p>
                  </a:txBody>
                  <a:tcPr marL="31570" marR="31570" marT="31570" marB="31570"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fontAlgn="ctr"/>
                      <a:endParaRPr lang="en-US" sz="700" b="0" i="1" u="none" strike="noStrike" noProof="0" dirty="0">
                        <a:solidFill>
                          <a:srgbClr val="000000"/>
                        </a:solidFill>
                        <a:effectLst/>
                        <a:latin typeface="+mn-lt"/>
                      </a:endParaRPr>
                    </a:p>
                  </a:txBody>
                  <a:tcPr marL="31570" marR="31570" marT="31570" marB="31570" anchor="ctr">
                    <a:lnL w="12700" cap="flat" cmpd="sng" algn="ctr">
                      <a:solidFill>
                        <a:sysClr val="windowText" lastClr="000000"/>
                      </a:solidFill>
                      <a:prstDash val="solid"/>
                      <a:round/>
                      <a:headEnd type="none" w="med" len="med"/>
                      <a:tailEnd type="none" w="med" len="med"/>
                    </a:lnL>
                    <a:lnR w="6350" cap="flat" cmpd="sng" algn="ctr">
                      <a:solidFill>
                        <a:schemeClr val="bg2">
                          <a:lumMod val="75000"/>
                        </a:schemeClr>
                      </a:solidFill>
                      <a:prstDash val="dot"/>
                      <a:round/>
                      <a:headEnd type="none" w="med" len="med"/>
                      <a:tailEnd type="none" w="med" len="med"/>
                    </a:lnR>
                    <a:lnT w="6350" cap="flat" cmpd="sng" algn="ctr">
                      <a:solidFill>
                        <a:schemeClr val="bg2">
                          <a:lumMod val="75000"/>
                        </a:schemeClr>
                      </a:solidFill>
                      <a:prstDash val="dot"/>
                      <a:round/>
                      <a:headEnd type="none" w="med" len="med"/>
                      <a:tailEnd type="none" w="med" len="med"/>
                    </a:lnT>
                    <a:lnB w="635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chemeClr val="bg2">
                          <a:lumMod val="75000"/>
                        </a:scheme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rgbClr val="FFC000"/>
                        </a:solidFill>
                        <a:highlight>
                          <a:srgbClr val="FFFF00"/>
                        </a:highlight>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6350" cap="flat" cmpd="sng" algn="ctr">
                      <a:solidFill>
                        <a:sysClr val="windowText" lastClr="000000">
                          <a:lumMod val="50000"/>
                          <a:lumOff val="50000"/>
                        </a:sysClr>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265579"/>
                  </a:ext>
                </a:extLst>
              </a:tr>
              <a:tr h="549806">
                <a:tc>
                  <a:txBody>
                    <a:bodyPr/>
                    <a:lstStyle>
                      <a:lvl1pPr marL="0" algn="l" defTabSz="914330" rtl="0" eaLnBrk="1" latinLnBrk="0" hangingPunct="1">
                        <a:defRPr sz="1800" kern="1200">
                          <a:solidFill>
                            <a:schemeClr val="dk1"/>
                          </a:solidFill>
                          <a:latin typeface="Calibri" panose="020F0502020204030204"/>
                        </a:defRPr>
                      </a:lvl1pPr>
                      <a:lvl2pPr marL="457166" algn="l" defTabSz="914330" rtl="0" eaLnBrk="1" latinLnBrk="0" hangingPunct="1">
                        <a:defRPr sz="1800" kern="1200">
                          <a:solidFill>
                            <a:schemeClr val="dk1"/>
                          </a:solidFill>
                          <a:latin typeface="Calibri" panose="020F0502020204030204"/>
                        </a:defRPr>
                      </a:lvl2pPr>
                      <a:lvl3pPr marL="914330" algn="l" defTabSz="914330" rtl="0" eaLnBrk="1" latinLnBrk="0" hangingPunct="1">
                        <a:defRPr sz="1800" kern="1200">
                          <a:solidFill>
                            <a:schemeClr val="dk1"/>
                          </a:solidFill>
                          <a:latin typeface="Calibri" panose="020F0502020204030204"/>
                        </a:defRPr>
                      </a:lvl3pPr>
                      <a:lvl4pPr marL="1371496" algn="l" defTabSz="914330" rtl="0" eaLnBrk="1" latinLnBrk="0" hangingPunct="1">
                        <a:defRPr sz="1800" kern="1200">
                          <a:solidFill>
                            <a:schemeClr val="dk1"/>
                          </a:solidFill>
                          <a:latin typeface="Calibri" panose="020F0502020204030204"/>
                        </a:defRPr>
                      </a:lvl4pPr>
                      <a:lvl5pPr marL="1828662" algn="l" defTabSz="914330" rtl="0" eaLnBrk="1" latinLnBrk="0" hangingPunct="1">
                        <a:defRPr sz="1800" kern="1200">
                          <a:solidFill>
                            <a:schemeClr val="dk1"/>
                          </a:solidFill>
                          <a:latin typeface="Calibri" panose="020F0502020204030204"/>
                        </a:defRPr>
                      </a:lvl5pPr>
                      <a:lvl6pPr marL="2285827" algn="l" defTabSz="914330" rtl="0" eaLnBrk="1" latinLnBrk="0" hangingPunct="1">
                        <a:defRPr sz="1800" kern="1200">
                          <a:solidFill>
                            <a:schemeClr val="dk1"/>
                          </a:solidFill>
                          <a:latin typeface="Calibri" panose="020F0502020204030204"/>
                        </a:defRPr>
                      </a:lvl6pPr>
                      <a:lvl7pPr marL="2742993" algn="l" defTabSz="914330" rtl="0" eaLnBrk="1" latinLnBrk="0" hangingPunct="1">
                        <a:defRPr sz="1800" kern="1200">
                          <a:solidFill>
                            <a:schemeClr val="dk1"/>
                          </a:solidFill>
                          <a:latin typeface="Calibri" panose="020F0502020204030204"/>
                        </a:defRPr>
                      </a:lvl7pPr>
                      <a:lvl8pPr marL="3200159" algn="l" defTabSz="914330" rtl="0" eaLnBrk="1" latinLnBrk="0" hangingPunct="1">
                        <a:defRPr sz="1800" kern="1200">
                          <a:solidFill>
                            <a:schemeClr val="dk1"/>
                          </a:solidFill>
                          <a:latin typeface="Calibri" panose="020F0502020204030204"/>
                        </a:defRPr>
                      </a:lvl8pPr>
                      <a:lvl9pPr marL="3657323" algn="l" defTabSz="914330" rtl="0" eaLnBrk="1" latinLnBrk="0" hangingPunct="1">
                        <a:defRPr sz="1800" kern="1200">
                          <a:solidFill>
                            <a:schemeClr val="dk1"/>
                          </a:solidFill>
                          <a:latin typeface="Calibri" panose="020F0502020204030204"/>
                        </a:defRPr>
                      </a:lvl9pPr>
                    </a:lstStyle>
                    <a:p>
                      <a:pPr algn="just" fontAlgn="ctr"/>
                      <a:r>
                        <a:rPr lang="fr-FR" sz="900" b="0" i="0" u="none" strike="noStrike" noProof="0" dirty="0">
                          <a:solidFill>
                            <a:srgbClr val="000000"/>
                          </a:solidFill>
                          <a:effectLst/>
                          <a:latin typeface="Verdana" panose="020B0604030504040204" pitchFamily="34" charset="0"/>
                          <a:ea typeface="Verdana" panose="020B0604030504040204" pitchFamily="34" charset="0"/>
                        </a:rPr>
                        <a:t>Intégration des feedbacks</a:t>
                      </a:r>
                    </a:p>
                  </a:txBody>
                  <a:tcPr marL="31570" marR="31570" marT="31570" marB="31570"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fontAlgn="ctr"/>
                      <a:endParaRPr lang="en-US" sz="700" b="0" i="1" u="none" strike="noStrike" noProof="0" dirty="0">
                        <a:solidFill>
                          <a:srgbClr val="000000"/>
                        </a:solidFill>
                        <a:effectLst/>
                        <a:latin typeface="+mn-lt"/>
                      </a:endParaRPr>
                    </a:p>
                  </a:txBody>
                  <a:tcPr marL="31570" marR="31570" marT="31570" marB="31570" anchor="ctr">
                    <a:lnL w="12700" cap="flat" cmpd="sng" algn="ctr">
                      <a:solidFill>
                        <a:sysClr val="windowText" lastClr="000000"/>
                      </a:solidFill>
                      <a:prstDash val="solid"/>
                      <a:round/>
                      <a:headEnd type="none" w="med" len="med"/>
                      <a:tailEnd type="none" w="med" len="med"/>
                    </a:lnL>
                    <a:lnR w="6350" cap="flat" cmpd="sng" algn="ctr">
                      <a:solidFill>
                        <a:schemeClr val="bg2">
                          <a:lumMod val="75000"/>
                        </a:schemeClr>
                      </a:solidFill>
                      <a:prstDash val="dot"/>
                      <a:round/>
                      <a:headEnd type="none" w="med" len="med"/>
                      <a:tailEnd type="none" w="med" len="med"/>
                    </a:lnR>
                    <a:lnT w="6350" cap="flat" cmpd="sng" algn="ctr">
                      <a:solidFill>
                        <a:schemeClr val="bg2">
                          <a:lumMod val="75000"/>
                        </a:scheme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0" rtl="0" eaLnBrk="1" latinLnBrk="0" hangingPunct="1">
                        <a:defRPr sz="1800" kern="1200">
                          <a:solidFill>
                            <a:schemeClr val="dk1"/>
                          </a:solidFill>
                          <a:latin typeface="Calibri" panose="020F0502020204030204"/>
                        </a:defRPr>
                      </a:lvl1pPr>
                      <a:lvl2pPr marL="457166" algn="l" defTabSz="914330" rtl="0" eaLnBrk="1" latinLnBrk="0" hangingPunct="1">
                        <a:defRPr sz="1800" kern="1200">
                          <a:solidFill>
                            <a:schemeClr val="dk1"/>
                          </a:solidFill>
                          <a:latin typeface="Calibri" panose="020F0502020204030204"/>
                        </a:defRPr>
                      </a:lvl2pPr>
                      <a:lvl3pPr marL="914330" algn="l" defTabSz="914330" rtl="0" eaLnBrk="1" latinLnBrk="0" hangingPunct="1">
                        <a:defRPr sz="1800" kern="1200">
                          <a:solidFill>
                            <a:schemeClr val="dk1"/>
                          </a:solidFill>
                          <a:latin typeface="Calibri" panose="020F0502020204030204"/>
                        </a:defRPr>
                      </a:lvl3pPr>
                      <a:lvl4pPr marL="1371496" algn="l" defTabSz="914330" rtl="0" eaLnBrk="1" latinLnBrk="0" hangingPunct="1">
                        <a:defRPr sz="1800" kern="1200">
                          <a:solidFill>
                            <a:schemeClr val="dk1"/>
                          </a:solidFill>
                          <a:latin typeface="Calibri" panose="020F0502020204030204"/>
                        </a:defRPr>
                      </a:lvl4pPr>
                      <a:lvl5pPr marL="1828662" algn="l" defTabSz="914330" rtl="0" eaLnBrk="1" latinLnBrk="0" hangingPunct="1">
                        <a:defRPr sz="1800" kern="1200">
                          <a:solidFill>
                            <a:schemeClr val="dk1"/>
                          </a:solidFill>
                          <a:latin typeface="Calibri" panose="020F0502020204030204"/>
                        </a:defRPr>
                      </a:lvl5pPr>
                      <a:lvl6pPr marL="2285827" algn="l" defTabSz="914330" rtl="0" eaLnBrk="1" latinLnBrk="0" hangingPunct="1">
                        <a:defRPr sz="1800" kern="1200">
                          <a:solidFill>
                            <a:schemeClr val="dk1"/>
                          </a:solidFill>
                          <a:latin typeface="Calibri" panose="020F0502020204030204"/>
                        </a:defRPr>
                      </a:lvl6pPr>
                      <a:lvl7pPr marL="2742993" algn="l" defTabSz="914330" rtl="0" eaLnBrk="1" latinLnBrk="0" hangingPunct="1">
                        <a:defRPr sz="1800" kern="1200">
                          <a:solidFill>
                            <a:schemeClr val="dk1"/>
                          </a:solidFill>
                          <a:latin typeface="Calibri" panose="020F0502020204030204"/>
                        </a:defRPr>
                      </a:lvl7pPr>
                      <a:lvl8pPr marL="3200159" algn="l" defTabSz="914330" rtl="0" eaLnBrk="1" latinLnBrk="0" hangingPunct="1">
                        <a:defRPr sz="1800" kern="1200">
                          <a:solidFill>
                            <a:schemeClr val="dk1"/>
                          </a:solidFill>
                          <a:latin typeface="Calibri" panose="020F0502020204030204"/>
                        </a:defRPr>
                      </a:lvl8pPr>
                      <a:lvl9pPr marL="3657323" algn="l" defTabSz="914330" rtl="0" eaLnBrk="1" latinLnBrk="0" hangingPunct="1">
                        <a:defRPr sz="1800" kern="1200">
                          <a:solidFill>
                            <a:schemeClr val="dk1"/>
                          </a:solidFill>
                          <a:latin typeface="Calibri" panose="020F0502020204030204"/>
                        </a:defRPr>
                      </a:lvl9p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chemeClr val="bg2">
                          <a:lumMod val="75000"/>
                        </a:scheme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0" rtl="0" eaLnBrk="1" latinLnBrk="0" hangingPunct="1">
                        <a:defRPr sz="1800" kern="1200">
                          <a:solidFill>
                            <a:schemeClr val="dk1"/>
                          </a:solidFill>
                          <a:latin typeface="Calibri" panose="020F0502020204030204"/>
                        </a:defRPr>
                      </a:lvl1pPr>
                      <a:lvl2pPr marL="457166" algn="l" defTabSz="914330" rtl="0" eaLnBrk="1" latinLnBrk="0" hangingPunct="1">
                        <a:defRPr sz="1800" kern="1200">
                          <a:solidFill>
                            <a:schemeClr val="dk1"/>
                          </a:solidFill>
                          <a:latin typeface="Calibri" panose="020F0502020204030204"/>
                        </a:defRPr>
                      </a:lvl2pPr>
                      <a:lvl3pPr marL="914330" algn="l" defTabSz="914330" rtl="0" eaLnBrk="1" latinLnBrk="0" hangingPunct="1">
                        <a:defRPr sz="1800" kern="1200">
                          <a:solidFill>
                            <a:schemeClr val="dk1"/>
                          </a:solidFill>
                          <a:latin typeface="Calibri" panose="020F0502020204030204"/>
                        </a:defRPr>
                      </a:lvl3pPr>
                      <a:lvl4pPr marL="1371496" algn="l" defTabSz="914330" rtl="0" eaLnBrk="1" latinLnBrk="0" hangingPunct="1">
                        <a:defRPr sz="1800" kern="1200">
                          <a:solidFill>
                            <a:schemeClr val="dk1"/>
                          </a:solidFill>
                          <a:latin typeface="Calibri" panose="020F0502020204030204"/>
                        </a:defRPr>
                      </a:lvl4pPr>
                      <a:lvl5pPr marL="1828662" algn="l" defTabSz="914330" rtl="0" eaLnBrk="1" latinLnBrk="0" hangingPunct="1">
                        <a:defRPr sz="1800" kern="1200">
                          <a:solidFill>
                            <a:schemeClr val="dk1"/>
                          </a:solidFill>
                          <a:latin typeface="Calibri" panose="020F0502020204030204"/>
                        </a:defRPr>
                      </a:lvl5pPr>
                      <a:lvl6pPr marL="2285827" algn="l" defTabSz="914330" rtl="0" eaLnBrk="1" latinLnBrk="0" hangingPunct="1">
                        <a:defRPr sz="1800" kern="1200">
                          <a:solidFill>
                            <a:schemeClr val="dk1"/>
                          </a:solidFill>
                          <a:latin typeface="Calibri" panose="020F0502020204030204"/>
                        </a:defRPr>
                      </a:lvl6pPr>
                      <a:lvl7pPr marL="2742993" algn="l" defTabSz="914330" rtl="0" eaLnBrk="1" latinLnBrk="0" hangingPunct="1">
                        <a:defRPr sz="1800" kern="1200">
                          <a:solidFill>
                            <a:schemeClr val="dk1"/>
                          </a:solidFill>
                          <a:latin typeface="Calibri" panose="020F0502020204030204"/>
                        </a:defRPr>
                      </a:lvl7pPr>
                      <a:lvl8pPr marL="3200159" algn="l" defTabSz="914330" rtl="0" eaLnBrk="1" latinLnBrk="0" hangingPunct="1">
                        <a:defRPr sz="1800" kern="1200">
                          <a:solidFill>
                            <a:schemeClr val="dk1"/>
                          </a:solidFill>
                          <a:latin typeface="Calibri" panose="020F0502020204030204"/>
                        </a:defRPr>
                      </a:lvl8pPr>
                      <a:lvl9pPr marL="3657323" algn="l" defTabSz="914330" rtl="0" eaLnBrk="1" latinLnBrk="0" hangingPunct="1">
                        <a:defRPr sz="1800" kern="1200">
                          <a:solidFill>
                            <a:schemeClr val="dk1"/>
                          </a:solidFill>
                          <a:latin typeface="Calibri" panose="020F0502020204030204"/>
                        </a:defRPr>
                      </a:lvl9p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0" rtl="0" eaLnBrk="1" latinLnBrk="0" hangingPunct="1">
                        <a:defRPr sz="1800" kern="1200">
                          <a:solidFill>
                            <a:schemeClr val="dk1"/>
                          </a:solidFill>
                          <a:latin typeface="Calibri" panose="020F0502020204030204"/>
                        </a:defRPr>
                      </a:lvl1pPr>
                      <a:lvl2pPr marL="457166" algn="l" defTabSz="914330" rtl="0" eaLnBrk="1" latinLnBrk="0" hangingPunct="1">
                        <a:defRPr sz="1800" kern="1200">
                          <a:solidFill>
                            <a:schemeClr val="dk1"/>
                          </a:solidFill>
                          <a:latin typeface="Calibri" panose="020F0502020204030204"/>
                        </a:defRPr>
                      </a:lvl2pPr>
                      <a:lvl3pPr marL="914330" algn="l" defTabSz="914330" rtl="0" eaLnBrk="1" latinLnBrk="0" hangingPunct="1">
                        <a:defRPr sz="1800" kern="1200">
                          <a:solidFill>
                            <a:schemeClr val="dk1"/>
                          </a:solidFill>
                          <a:latin typeface="Calibri" panose="020F0502020204030204"/>
                        </a:defRPr>
                      </a:lvl3pPr>
                      <a:lvl4pPr marL="1371496" algn="l" defTabSz="914330" rtl="0" eaLnBrk="1" latinLnBrk="0" hangingPunct="1">
                        <a:defRPr sz="1800" kern="1200">
                          <a:solidFill>
                            <a:schemeClr val="dk1"/>
                          </a:solidFill>
                          <a:latin typeface="Calibri" panose="020F0502020204030204"/>
                        </a:defRPr>
                      </a:lvl4pPr>
                      <a:lvl5pPr marL="1828662" algn="l" defTabSz="914330" rtl="0" eaLnBrk="1" latinLnBrk="0" hangingPunct="1">
                        <a:defRPr sz="1800" kern="1200">
                          <a:solidFill>
                            <a:schemeClr val="dk1"/>
                          </a:solidFill>
                          <a:latin typeface="Calibri" panose="020F0502020204030204"/>
                        </a:defRPr>
                      </a:lvl5pPr>
                      <a:lvl6pPr marL="2285827" algn="l" defTabSz="914330" rtl="0" eaLnBrk="1" latinLnBrk="0" hangingPunct="1">
                        <a:defRPr sz="1800" kern="1200">
                          <a:solidFill>
                            <a:schemeClr val="dk1"/>
                          </a:solidFill>
                          <a:latin typeface="Calibri" panose="020F0502020204030204"/>
                        </a:defRPr>
                      </a:lvl6pPr>
                      <a:lvl7pPr marL="2742993" algn="l" defTabSz="914330" rtl="0" eaLnBrk="1" latinLnBrk="0" hangingPunct="1">
                        <a:defRPr sz="1800" kern="1200">
                          <a:solidFill>
                            <a:schemeClr val="dk1"/>
                          </a:solidFill>
                          <a:latin typeface="Calibri" panose="020F0502020204030204"/>
                        </a:defRPr>
                      </a:lvl7pPr>
                      <a:lvl8pPr marL="3200159" algn="l" defTabSz="914330" rtl="0" eaLnBrk="1" latinLnBrk="0" hangingPunct="1">
                        <a:defRPr sz="1800" kern="1200">
                          <a:solidFill>
                            <a:schemeClr val="dk1"/>
                          </a:solidFill>
                          <a:latin typeface="Calibri" panose="020F0502020204030204"/>
                        </a:defRPr>
                      </a:lvl8pPr>
                      <a:lvl9pPr marL="3657323" algn="l" defTabSz="914330" rtl="0" eaLnBrk="1" latinLnBrk="0" hangingPunct="1">
                        <a:defRPr sz="1800" kern="1200">
                          <a:solidFill>
                            <a:schemeClr val="dk1"/>
                          </a:solidFill>
                          <a:latin typeface="Calibri" panose="020F0502020204030204"/>
                        </a:defRPr>
                      </a:lvl9p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0" rtl="0" eaLnBrk="1" latinLnBrk="0" hangingPunct="1">
                        <a:defRPr sz="1800" kern="1200">
                          <a:solidFill>
                            <a:schemeClr val="dk1"/>
                          </a:solidFill>
                          <a:latin typeface="Calibri" panose="020F0502020204030204"/>
                        </a:defRPr>
                      </a:lvl1pPr>
                      <a:lvl2pPr marL="457166" algn="l" defTabSz="914330" rtl="0" eaLnBrk="1" latinLnBrk="0" hangingPunct="1">
                        <a:defRPr sz="1800" kern="1200">
                          <a:solidFill>
                            <a:schemeClr val="dk1"/>
                          </a:solidFill>
                          <a:latin typeface="Calibri" panose="020F0502020204030204"/>
                        </a:defRPr>
                      </a:lvl2pPr>
                      <a:lvl3pPr marL="914330" algn="l" defTabSz="914330" rtl="0" eaLnBrk="1" latinLnBrk="0" hangingPunct="1">
                        <a:defRPr sz="1800" kern="1200">
                          <a:solidFill>
                            <a:schemeClr val="dk1"/>
                          </a:solidFill>
                          <a:latin typeface="Calibri" panose="020F0502020204030204"/>
                        </a:defRPr>
                      </a:lvl3pPr>
                      <a:lvl4pPr marL="1371496" algn="l" defTabSz="914330" rtl="0" eaLnBrk="1" latinLnBrk="0" hangingPunct="1">
                        <a:defRPr sz="1800" kern="1200">
                          <a:solidFill>
                            <a:schemeClr val="dk1"/>
                          </a:solidFill>
                          <a:latin typeface="Calibri" panose="020F0502020204030204"/>
                        </a:defRPr>
                      </a:lvl4pPr>
                      <a:lvl5pPr marL="1828662" algn="l" defTabSz="914330" rtl="0" eaLnBrk="1" latinLnBrk="0" hangingPunct="1">
                        <a:defRPr sz="1800" kern="1200">
                          <a:solidFill>
                            <a:schemeClr val="dk1"/>
                          </a:solidFill>
                          <a:latin typeface="Calibri" panose="020F0502020204030204"/>
                        </a:defRPr>
                      </a:lvl5pPr>
                      <a:lvl6pPr marL="2285827" algn="l" defTabSz="914330" rtl="0" eaLnBrk="1" latinLnBrk="0" hangingPunct="1">
                        <a:defRPr sz="1800" kern="1200">
                          <a:solidFill>
                            <a:schemeClr val="dk1"/>
                          </a:solidFill>
                          <a:latin typeface="Calibri" panose="020F0502020204030204"/>
                        </a:defRPr>
                      </a:lvl6pPr>
                      <a:lvl7pPr marL="2742993" algn="l" defTabSz="914330" rtl="0" eaLnBrk="1" latinLnBrk="0" hangingPunct="1">
                        <a:defRPr sz="1800" kern="1200">
                          <a:solidFill>
                            <a:schemeClr val="dk1"/>
                          </a:solidFill>
                          <a:latin typeface="Calibri" panose="020F0502020204030204"/>
                        </a:defRPr>
                      </a:lvl7pPr>
                      <a:lvl8pPr marL="3200159" algn="l" defTabSz="914330" rtl="0" eaLnBrk="1" latinLnBrk="0" hangingPunct="1">
                        <a:defRPr sz="1800" kern="1200">
                          <a:solidFill>
                            <a:schemeClr val="dk1"/>
                          </a:solidFill>
                          <a:latin typeface="Calibri" panose="020F0502020204030204"/>
                        </a:defRPr>
                      </a:lvl8pPr>
                      <a:lvl9pPr marL="3657323" algn="l" defTabSz="914330" rtl="0" eaLnBrk="1" latinLnBrk="0" hangingPunct="1">
                        <a:defRPr sz="1800" kern="1200">
                          <a:solidFill>
                            <a:schemeClr val="dk1"/>
                          </a:solidFill>
                          <a:latin typeface="Calibri" panose="020F0502020204030204"/>
                        </a:defRPr>
                      </a:lvl9p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0" rtl="0" eaLnBrk="1" latinLnBrk="0" hangingPunct="1">
                        <a:defRPr sz="1800" kern="1200">
                          <a:solidFill>
                            <a:schemeClr val="dk1"/>
                          </a:solidFill>
                          <a:latin typeface="Calibri" panose="020F0502020204030204"/>
                        </a:defRPr>
                      </a:lvl1pPr>
                      <a:lvl2pPr marL="457166" algn="l" defTabSz="914330" rtl="0" eaLnBrk="1" latinLnBrk="0" hangingPunct="1">
                        <a:defRPr sz="1800" kern="1200">
                          <a:solidFill>
                            <a:schemeClr val="dk1"/>
                          </a:solidFill>
                          <a:latin typeface="Calibri" panose="020F0502020204030204"/>
                        </a:defRPr>
                      </a:lvl2pPr>
                      <a:lvl3pPr marL="914330" algn="l" defTabSz="914330" rtl="0" eaLnBrk="1" latinLnBrk="0" hangingPunct="1">
                        <a:defRPr sz="1800" kern="1200">
                          <a:solidFill>
                            <a:schemeClr val="dk1"/>
                          </a:solidFill>
                          <a:latin typeface="Calibri" panose="020F0502020204030204"/>
                        </a:defRPr>
                      </a:lvl3pPr>
                      <a:lvl4pPr marL="1371496" algn="l" defTabSz="914330" rtl="0" eaLnBrk="1" latinLnBrk="0" hangingPunct="1">
                        <a:defRPr sz="1800" kern="1200">
                          <a:solidFill>
                            <a:schemeClr val="dk1"/>
                          </a:solidFill>
                          <a:latin typeface="Calibri" panose="020F0502020204030204"/>
                        </a:defRPr>
                      </a:lvl4pPr>
                      <a:lvl5pPr marL="1828662" algn="l" defTabSz="914330" rtl="0" eaLnBrk="1" latinLnBrk="0" hangingPunct="1">
                        <a:defRPr sz="1800" kern="1200">
                          <a:solidFill>
                            <a:schemeClr val="dk1"/>
                          </a:solidFill>
                          <a:latin typeface="Calibri" panose="020F0502020204030204"/>
                        </a:defRPr>
                      </a:lvl5pPr>
                      <a:lvl6pPr marL="2285827" algn="l" defTabSz="914330" rtl="0" eaLnBrk="1" latinLnBrk="0" hangingPunct="1">
                        <a:defRPr sz="1800" kern="1200">
                          <a:solidFill>
                            <a:schemeClr val="dk1"/>
                          </a:solidFill>
                          <a:latin typeface="Calibri" panose="020F0502020204030204"/>
                        </a:defRPr>
                      </a:lvl6pPr>
                      <a:lvl7pPr marL="2742993" algn="l" defTabSz="914330" rtl="0" eaLnBrk="1" latinLnBrk="0" hangingPunct="1">
                        <a:defRPr sz="1800" kern="1200">
                          <a:solidFill>
                            <a:schemeClr val="dk1"/>
                          </a:solidFill>
                          <a:latin typeface="Calibri" panose="020F0502020204030204"/>
                        </a:defRPr>
                      </a:lvl7pPr>
                      <a:lvl8pPr marL="3200159" algn="l" defTabSz="914330" rtl="0" eaLnBrk="1" latinLnBrk="0" hangingPunct="1">
                        <a:defRPr sz="1800" kern="1200">
                          <a:solidFill>
                            <a:schemeClr val="dk1"/>
                          </a:solidFill>
                          <a:latin typeface="Calibri" panose="020F0502020204030204"/>
                        </a:defRPr>
                      </a:lvl8pPr>
                      <a:lvl9pPr marL="3657323" algn="l" defTabSz="914330" rtl="0" eaLnBrk="1" latinLnBrk="0" hangingPunct="1">
                        <a:defRPr sz="1800" kern="1200">
                          <a:solidFill>
                            <a:schemeClr val="dk1"/>
                          </a:solidFill>
                          <a:latin typeface="Calibri" panose="020F0502020204030204"/>
                        </a:defRPr>
                      </a:lvl9pPr>
                    </a:lstStyle>
                    <a:p>
                      <a:pPr marL="0" indent="0" algn="ctr" defTabSz="1219140" rtl="0" eaLnBrk="1" latinLnBrk="0" hangingPunct="1">
                        <a:buClr>
                          <a:schemeClr val="accent1"/>
                        </a:buClr>
                        <a:buFont typeface="+mj-lt"/>
                        <a:buNone/>
                      </a:pPr>
                      <a:endParaRPr lang="en-US" sz="1000" b="0" kern="1200" dirty="0">
                        <a:solidFill>
                          <a:schemeClr val="bg1"/>
                        </a:solidFill>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219140" rtl="0" eaLnBrk="1" latinLnBrk="0" hangingPunct="1">
                        <a:buClr>
                          <a:schemeClr val="accent1"/>
                        </a:buClr>
                        <a:buFont typeface="+mj-lt"/>
                        <a:buNone/>
                      </a:pPr>
                      <a:endParaRPr lang="en-US" sz="1000" b="0" kern="1200" dirty="0">
                        <a:solidFill>
                          <a:srgbClr val="FFC000"/>
                        </a:solidFill>
                        <a:highlight>
                          <a:srgbClr val="FFFF00"/>
                        </a:highlight>
                        <a:latin typeface="+mn-lt"/>
                        <a:ea typeface="Open Sans Light" panose="020B0306030504020204" pitchFamily="34" charset="0"/>
                        <a:cs typeface="Open Sans Light" panose="020B0306030504020204" pitchFamily="34" charset="0"/>
                      </a:endParaRPr>
                    </a:p>
                  </a:txBody>
                  <a:tcPr marL="80189" marR="80189" marT="40094" marB="40094" anchor="ctr">
                    <a:lnL w="6350" cap="flat" cmpd="sng" algn="ctr">
                      <a:solidFill>
                        <a:sysClr val="windowText" lastClr="000000">
                          <a:lumMod val="50000"/>
                          <a:lumOff val="50000"/>
                        </a:sysClr>
                      </a:solidFill>
                      <a:prstDash val="dot"/>
                      <a:round/>
                      <a:headEnd type="none" w="med" len="med"/>
                      <a:tailEnd type="none" w="med" len="med"/>
                    </a:lnL>
                    <a:lnR w="6350" cap="flat" cmpd="sng" algn="ctr">
                      <a:solidFill>
                        <a:sysClr val="windowText" lastClr="000000">
                          <a:lumMod val="50000"/>
                          <a:lumOff val="50000"/>
                        </a:sysClr>
                      </a:solidFill>
                      <a:prstDash val="dot"/>
                      <a:round/>
                      <a:headEnd type="none" w="med" len="med"/>
                      <a:tailEnd type="none" w="med" len="med"/>
                    </a:lnR>
                    <a:lnT w="6350" cap="flat" cmpd="sng" algn="ctr">
                      <a:solidFill>
                        <a:sysClr val="windowText" lastClr="000000">
                          <a:lumMod val="50000"/>
                          <a:lumOff val="50000"/>
                        </a:sys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56353381"/>
                  </a:ext>
                </a:extLst>
              </a:tr>
            </a:tbl>
          </a:graphicData>
        </a:graphic>
      </p:graphicFrame>
      <p:grpSp>
        <p:nvGrpSpPr>
          <p:cNvPr id="63" name="Group 62">
            <a:extLst>
              <a:ext uri="{FF2B5EF4-FFF2-40B4-BE49-F238E27FC236}">
                <a16:creationId xmlns:a16="http://schemas.microsoft.com/office/drawing/2014/main" id="{FEF86B91-1670-4CFC-B2F5-017D3BECEDCD}"/>
              </a:ext>
            </a:extLst>
          </p:cNvPr>
          <p:cNvGrpSpPr/>
          <p:nvPr/>
        </p:nvGrpSpPr>
        <p:grpSpPr>
          <a:xfrm>
            <a:off x="4950764" y="2651172"/>
            <a:ext cx="472772" cy="199994"/>
            <a:chOff x="4950764" y="2651172"/>
            <a:chExt cx="472772" cy="199994"/>
          </a:xfrm>
        </p:grpSpPr>
        <p:cxnSp>
          <p:nvCxnSpPr>
            <p:cNvPr id="11" name="Straight Connector 10">
              <a:extLst>
                <a:ext uri="{FF2B5EF4-FFF2-40B4-BE49-F238E27FC236}">
                  <a16:creationId xmlns:a16="http://schemas.microsoft.com/office/drawing/2014/main" id="{0C53552F-3B60-4E2D-8616-5DBA511DA12B}"/>
                </a:ext>
              </a:extLst>
            </p:cNvPr>
            <p:cNvCxnSpPr>
              <a:cxnSpLocks/>
            </p:cNvCxnSpPr>
            <p:nvPr/>
          </p:nvCxnSpPr>
          <p:spPr>
            <a:xfrm>
              <a:off x="5025551" y="2751169"/>
              <a:ext cx="243396" cy="0"/>
            </a:xfrm>
            <a:prstGeom prst="line">
              <a:avLst/>
            </a:prstGeom>
          </p:spPr>
          <p:style>
            <a:lnRef idx="3">
              <a:schemeClr val="dk1"/>
            </a:lnRef>
            <a:fillRef idx="0">
              <a:schemeClr val="dk1"/>
            </a:fillRef>
            <a:effectRef idx="2">
              <a:schemeClr val="dk1"/>
            </a:effectRef>
            <a:fontRef idx="minor">
              <a:schemeClr val="tx1"/>
            </a:fontRef>
          </p:style>
        </p:cxnSp>
        <p:sp>
          <p:nvSpPr>
            <p:cNvPr id="12" name="Star: 5 Points 11">
              <a:extLst>
                <a:ext uri="{FF2B5EF4-FFF2-40B4-BE49-F238E27FC236}">
                  <a16:creationId xmlns:a16="http://schemas.microsoft.com/office/drawing/2014/main" id="{BA5AEFE8-8789-492A-93A4-504B03B8259D}"/>
                </a:ext>
              </a:extLst>
            </p:cNvPr>
            <p:cNvSpPr/>
            <p:nvPr/>
          </p:nvSpPr>
          <p:spPr>
            <a:xfrm>
              <a:off x="5196365" y="2651172"/>
              <a:ext cx="227171" cy="199994"/>
            </a:xfrm>
            <a:prstGeom prst="star5">
              <a:avLst/>
            </a:prstGeom>
            <a:solidFill>
              <a:srgbClr val="00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Oval 12">
              <a:extLst>
                <a:ext uri="{FF2B5EF4-FFF2-40B4-BE49-F238E27FC236}">
                  <a16:creationId xmlns:a16="http://schemas.microsoft.com/office/drawing/2014/main" id="{2A79D173-96EC-4C2A-89EC-0F50087BD980}"/>
                </a:ext>
              </a:extLst>
            </p:cNvPr>
            <p:cNvSpPr/>
            <p:nvPr/>
          </p:nvSpPr>
          <p:spPr>
            <a:xfrm>
              <a:off x="4950764" y="2669500"/>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14" name="Group 13">
            <a:extLst>
              <a:ext uri="{FF2B5EF4-FFF2-40B4-BE49-F238E27FC236}">
                <a16:creationId xmlns:a16="http://schemas.microsoft.com/office/drawing/2014/main" id="{F5A0370B-CE66-43EE-A125-56A4D449EB63}"/>
              </a:ext>
            </a:extLst>
          </p:cNvPr>
          <p:cNvGrpSpPr/>
          <p:nvPr/>
        </p:nvGrpSpPr>
        <p:grpSpPr>
          <a:xfrm>
            <a:off x="5235162" y="3257524"/>
            <a:ext cx="1335071" cy="199994"/>
            <a:chOff x="4395340" y="3059880"/>
            <a:chExt cx="1335071" cy="199994"/>
          </a:xfrm>
        </p:grpSpPr>
        <p:sp>
          <p:nvSpPr>
            <p:cNvPr id="15" name="Oval 14">
              <a:extLst>
                <a:ext uri="{FF2B5EF4-FFF2-40B4-BE49-F238E27FC236}">
                  <a16:creationId xmlns:a16="http://schemas.microsoft.com/office/drawing/2014/main" id="{6F6AD82F-0BB8-449F-AAB4-60795EF07859}"/>
                </a:ext>
              </a:extLst>
            </p:cNvPr>
            <p:cNvSpPr/>
            <p:nvPr/>
          </p:nvSpPr>
          <p:spPr>
            <a:xfrm>
              <a:off x="4395340" y="3078208"/>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16" name="Straight Connector 15">
              <a:extLst>
                <a:ext uri="{FF2B5EF4-FFF2-40B4-BE49-F238E27FC236}">
                  <a16:creationId xmlns:a16="http://schemas.microsoft.com/office/drawing/2014/main" id="{8EF8507C-B0FA-4385-B567-F23F901EF3CA}"/>
                </a:ext>
              </a:extLst>
            </p:cNvPr>
            <p:cNvCxnSpPr>
              <a:cxnSpLocks/>
            </p:cNvCxnSpPr>
            <p:nvPr/>
          </p:nvCxnSpPr>
          <p:spPr>
            <a:xfrm>
              <a:off x="4544915" y="3159877"/>
              <a:ext cx="1035921" cy="0"/>
            </a:xfrm>
            <a:prstGeom prst="line">
              <a:avLst/>
            </a:prstGeom>
          </p:spPr>
          <p:style>
            <a:lnRef idx="3">
              <a:schemeClr val="dk1"/>
            </a:lnRef>
            <a:fillRef idx="0">
              <a:schemeClr val="dk1"/>
            </a:fillRef>
            <a:effectRef idx="2">
              <a:schemeClr val="dk1"/>
            </a:effectRef>
            <a:fontRef idx="minor">
              <a:schemeClr val="tx1"/>
            </a:fontRef>
          </p:style>
        </p:cxnSp>
        <p:sp>
          <p:nvSpPr>
            <p:cNvPr id="17" name="Star: 5 Points 16">
              <a:extLst>
                <a:ext uri="{FF2B5EF4-FFF2-40B4-BE49-F238E27FC236}">
                  <a16:creationId xmlns:a16="http://schemas.microsoft.com/office/drawing/2014/main" id="{C6F51231-63EB-4085-BCBB-C9C8567F763B}"/>
                </a:ext>
              </a:extLst>
            </p:cNvPr>
            <p:cNvSpPr/>
            <p:nvPr/>
          </p:nvSpPr>
          <p:spPr>
            <a:xfrm>
              <a:off x="5503240" y="3059880"/>
              <a:ext cx="227171" cy="19999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18" name="Group 17">
            <a:extLst>
              <a:ext uri="{FF2B5EF4-FFF2-40B4-BE49-F238E27FC236}">
                <a16:creationId xmlns:a16="http://schemas.microsoft.com/office/drawing/2014/main" id="{514D465E-964E-4054-8307-A648A4737BE1}"/>
              </a:ext>
            </a:extLst>
          </p:cNvPr>
          <p:cNvGrpSpPr/>
          <p:nvPr/>
        </p:nvGrpSpPr>
        <p:grpSpPr>
          <a:xfrm>
            <a:off x="5867749" y="3823966"/>
            <a:ext cx="1661343" cy="199994"/>
            <a:chOff x="5027927" y="3560544"/>
            <a:chExt cx="1661343" cy="199994"/>
          </a:xfrm>
        </p:grpSpPr>
        <p:cxnSp>
          <p:nvCxnSpPr>
            <p:cNvPr id="19" name="Straight Connector 18">
              <a:extLst>
                <a:ext uri="{FF2B5EF4-FFF2-40B4-BE49-F238E27FC236}">
                  <a16:creationId xmlns:a16="http://schemas.microsoft.com/office/drawing/2014/main" id="{08F54D95-078C-464A-BBE4-3E3EB2FC361E}"/>
                </a:ext>
              </a:extLst>
            </p:cNvPr>
            <p:cNvCxnSpPr>
              <a:cxnSpLocks/>
            </p:cNvCxnSpPr>
            <p:nvPr/>
          </p:nvCxnSpPr>
          <p:spPr>
            <a:xfrm>
              <a:off x="5138704" y="3660541"/>
              <a:ext cx="1377729" cy="0"/>
            </a:xfrm>
            <a:prstGeom prst="line">
              <a:avLst/>
            </a:prstGeom>
          </p:spPr>
          <p:style>
            <a:lnRef idx="3">
              <a:schemeClr val="dk1"/>
            </a:lnRef>
            <a:fillRef idx="0">
              <a:schemeClr val="dk1"/>
            </a:fillRef>
            <a:effectRef idx="2">
              <a:schemeClr val="dk1"/>
            </a:effectRef>
            <a:fontRef idx="minor">
              <a:schemeClr val="tx1"/>
            </a:fontRef>
          </p:style>
        </p:cxnSp>
        <p:sp>
          <p:nvSpPr>
            <p:cNvPr id="20" name="Star: 5 Points 19">
              <a:extLst>
                <a:ext uri="{FF2B5EF4-FFF2-40B4-BE49-F238E27FC236}">
                  <a16:creationId xmlns:a16="http://schemas.microsoft.com/office/drawing/2014/main" id="{1DC567DF-FFD4-402D-A64B-4E88243E0C57}"/>
                </a:ext>
              </a:extLst>
            </p:cNvPr>
            <p:cNvSpPr/>
            <p:nvPr/>
          </p:nvSpPr>
          <p:spPr>
            <a:xfrm>
              <a:off x="6462099" y="3560544"/>
              <a:ext cx="227171" cy="19999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1" name="Oval 20">
              <a:extLst>
                <a:ext uri="{FF2B5EF4-FFF2-40B4-BE49-F238E27FC236}">
                  <a16:creationId xmlns:a16="http://schemas.microsoft.com/office/drawing/2014/main" id="{149C19B3-07CD-4452-8BDD-3C9C16452702}"/>
                </a:ext>
              </a:extLst>
            </p:cNvPr>
            <p:cNvSpPr/>
            <p:nvPr/>
          </p:nvSpPr>
          <p:spPr>
            <a:xfrm>
              <a:off x="5027927" y="3578872"/>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22" name="Group 21">
            <a:extLst>
              <a:ext uri="{FF2B5EF4-FFF2-40B4-BE49-F238E27FC236}">
                <a16:creationId xmlns:a16="http://schemas.microsoft.com/office/drawing/2014/main" id="{51B0FDF7-FB22-4B2E-9B62-DE0F04A3FD62}"/>
              </a:ext>
            </a:extLst>
          </p:cNvPr>
          <p:cNvGrpSpPr/>
          <p:nvPr/>
        </p:nvGrpSpPr>
        <p:grpSpPr>
          <a:xfrm>
            <a:off x="7039913" y="4466589"/>
            <a:ext cx="940855" cy="199994"/>
            <a:chOff x="6200091" y="4057736"/>
            <a:chExt cx="940855" cy="199994"/>
          </a:xfrm>
        </p:grpSpPr>
        <p:sp>
          <p:nvSpPr>
            <p:cNvPr id="23" name="Oval 22">
              <a:extLst>
                <a:ext uri="{FF2B5EF4-FFF2-40B4-BE49-F238E27FC236}">
                  <a16:creationId xmlns:a16="http://schemas.microsoft.com/office/drawing/2014/main" id="{8B4C0938-736C-47A0-A4B9-A64544E697E6}"/>
                </a:ext>
              </a:extLst>
            </p:cNvPr>
            <p:cNvSpPr/>
            <p:nvPr/>
          </p:nvSpPr>
          <p:spPr>
            <a:xfrm>
              <a:off x="6200091" y="4076064"/>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24" name="Straight Connector 23">
              <a:extLst>
                <a:ext uri="{FF2B5EF4-FFF2-40B4-BE49-F238E27FC236}">
                  <a16:creationId xmlns:a16="http://schemas.microsoft.com/office/drawing/2014/main" id="{D3AE588B-64A3-4979-B414-892FA9168AB7}"/>
                </a:ext>
              </a:extLst>
            </p:cNvPr>
            <p:cNvCxnSpPr>
              <a:cxnSpLocks/>
            </p:cNvCxnSpPr>
            <p:nvPr/>
          </p:nvCxnSpPr>
          <p:spPr>
            <a:xfrm>
              <a:off x="6346650" y="4157733"/>
              <a:ext cx="651260" cy="0"/>
            </a:xfrm>
            <a:prstGeom prst="line">
              <a:avLst/>
            </a:prstGeom>
          </p:spPr>
          <p:style>
            <a:lnRef idx="3">
              <a:schemeClr val="dk1"/>
            </a:lnRef>
            <a:fillRef idx="0">
              <a:schemeClr val="dk1"/>
            </a:fillRef>
            <a:effectRef idx="2">
              <a:schemeClr val="dk1"/>
            </a:effectRef>
            <a:fontRef idx="minor">
              <a:schemeClr val="tx1"/>
            </a:fontRef>
          </p:style>
        </p:cxnSp>
        <p:sp>
          <p:nvSpPr>
            <p:cNvPr id="25" name="Star: 5 Points 24">
              <a:extLst>
                <a:ext uri="{FF2B5EF4-FFF2-40B4-BE49-F238E27FC236}">
                  <a16:creationId xmlns:a16="http://schemas.microsoft.com/office/drawing/2014/main" id="{047ED529-3D6B-4463-8ACF-15E2CA10D531}"/>
                </a:ext>
              </a:extLst>
            </p:cNvPr>
            <p:cNvSpPr/>
            <p:nvPr/>
          </p:nvSpPr>
          <p:spPr>
            <a:xfrm>
              <a:off x="6913775" y="4057736"/>
              <a:ext cx="227171" cy="19999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62" name="Group 61">
            <a:extLst>
              <a:ext uri="{FF2B5EF4-FFF2-40B4-BE49-F238E27FC236}">
                <a16:creationId xmlns:a16="http://schemas.microsoft.com/office/drawing/2014/main" id="{1C304519-864E-4FFC-ACD1-FFDDB3AB8C3A}"/>
              </a:ext>
            </a:extLst>
          </p:cNvPr>
          <p:cNvGrpSpPr/>
          <p:nvPr/>
        </p:nvGrpSpPr>
        <p:grpSpPr>
          <a:xfrm>
            <a:off x="7395052" y="5765672"/>
            <a:ext cx="1405529" cy="199994"/>
            <a:chOff x="7395052" y="5765672"/>
            <a:chExt cx="1405529" cy="199994"/>
          </a:xfrm>
        </p:grpSpPr>
        <p:cxnSp>
          <p:nvCxnSpPr>
            <p:cNvPr id="27" name="Straight Connector 26">
              <a:extLst>
                <a:ext uri="{FF2B5EF4-FFF2-40B4-BE49-F238E27FC236}">
                  <a16:creationId xmlns:a16="http://schemas.microsoft.com/office/drawing/2014/main" id="{E93F9D59-7CB4-4E3F-BFCE-3C428E2B583C}"/>
                </a:ext>
              </a:extLst>
            </p:cNvPr>
            <p:cNvCxnSpPr>
              <a:cxnSpLocks/>
            </p:cNvCxnSpPr>
            <p:nvPr/>
          </p:nvCxnSpPr>
          <p:spPr>
            <a:xfrm>
              <a:off x="7507301" y="5865669"/>
              <a:ext cx="1169590" cy="0"/>
            </a:xfrm>
            <a:prstGeom prst="line">
              <a:avLst/>
            </a:prstGeom>
          </p:spPr>
          <p:style>
            <a:lnRef idx="3">
              <a:schemeClr val="dk1"/>
            </a:lnRef>
            <a:fillRef idx="0">
              <a:schemeClr val="dk1"/>
            </a:fillRef>
            <a:effectRef idx="2">
              <a:schemeClr val="dk1"/>
            </a:effectRef>
            <a:fontRef idx="minor">
              <a:schemeClr val="tx1"/>
            </a:fontRef>
          </p:style>
        </p:cxnSp>
        <p:sp>
          <p:nvSpPr>
            <p:cNvPr id="28" name="Star: 5 Points 27">
              <a:extLst>
                <a:ext uri="{FF2B5EF4-FFF2-40B4-BE49-F238E27FC236}">
                  <a16:creationId xmlns:a16="http://schemas.microsoft.com/office/drawing/2014/main" id="{BDB22D0F-0836-4049-BE75-D8DAF4255E88}"/>
                </a:ext>
              </a:extLst>
            </p:cNvPr>
            <p:cNvSpPr/>
            <p:nvPr/>
          </p:nvSpPr>
          <p:spPr>
            <a:xfrm>
              <a:off x="8573410" y="5765672"/>
              <a:ext cx="227171" cy="199994"/>
            </a:xfrm>
            <a:prstGeom prst="star5">
              <a:avLst/>
            </a:prstGeom>
            <a:solidFill>
              <a:srgbClr val="00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Oval 28">
              <a:extLst>
                <a:ext uri="{FF2B5EF4-FFF2-40B4-BE49-F238E27FC236}">
                  <a16:creationId xmlns:a16="http://schemas.microsoft.com/office/drawing/2014/main" id="{7AB965CD-2228-4B30-BCE0-2EF80BB783CC}"/>
                </a:ext>
              </a:extLst>
            </p:cNvPr>
            <p:cNvSpPr/>
            <p:nvPr/>
          </p:nvSpPr>
          <p:spPr>
            <a:xfrm>
              <a:off x="7395052" y="5784000"/>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30" name="Group 29">
            <a:extLst>
              <a:ext uri="{FF2B5EF4-FFF2-40B4-BE49-F238E27FC236}">
                <a16:creationId xmlns:a16="http://schemas.microsoft.com/office/drawing/2014/main" id="{AB63C1CF-2A36-41D0-B23B-7D789396318E}"/>
              </a:ext>
            </a:extLst>
          </p:cNvPr>
          <p:cNvGrpSpPr/>
          <p:nvPr/>
        </p:nvGrpSpPr>
        <p:grpSpPr>
          <a:xfrm>
            <a:off x="8602104" y="3823966"/>
            <a:ext cx="2131136" cy="199994"/>
            <a:chOff x="7762282" y="3541289"/>
            <a:chExt cx="2131136" cy="199994"/>
          </a:xfrm>
        </p:grpSpPr>
        <p:sp>
          <p:nvSpPr>
            <p:cNvPr id="31" name="Oval 30">
              <a:extLst>
                <a:ext uri="{FF2B5EF4-FFF2-40B4-BE49-F238E27FC236}">
                  <a16:creationId xmlns:a16="http://schemas.microsoft.com/office/drawing/2014/main" id="{9F1DE1FB-1E1E-412D-9101-1D2FE339CABC}"/>
                </a:ext>
              </a:extLst>
            </p:cNvPr>
            <p:cNvSpPr/>
            <p:nvPr/>
          </p:nvSpPr>
          <p:spPr>
            <a:xfrm>
              <a:off x="7762282" y="3559617"/>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32" name="Straight Connector 31">
              <a:extLst>
                <a:ext uri="{FF2B5EF4-FFF2-40B4-BE49-F238E27FC236}">
                  <a16:creationId xmlns:a16="http://schemas.microsoft.com/office/drawing/2014/main" id="{B740E340-B4C6-4F20-A280-91E4557C3E4F}"/>
                </a:ext>
              </a:extLst>
            </p:cNvPr>
            <p:cNvCxnSpPr>
              <a:cxnSpLocks/>
            </p:cNvCxnSpPr>
            <p:nvPr/>
          </p:nvCxnSpPr>
          <p:spPr>
            <a:xfrm>
              <a:off x="7911857" y="3641286"/>
              <a:ext cx="1867976" cy="0"/>
            </a:xfrm>
            <a:prstGeom prst="line">
              <a:avLst/>
            </a:prstGeom>
          </p:spPr>
          <p:style>
            <a:lnRef idx="3">
              <a:schemeClr val="dk1"/>
            </a:lnRef>
            <a:fillRef idx="0">
              <a:schemeClr val="dk1"/>
            </a:fillRef>
            <a:effectRef idx="2">
              <a:schemeClr val="dk1"/>
            </a:effectRef>
            <a:fontRef idx="minor">
              <a:schemeClr val="tx1"/>
            </a:fontRef>
          </p:style>
        </p:cxnSp>
        <p:sp>
          <p:nvSpPr>
            <p:cNvPr id="33" name="Star: 5 Points 32">
              <a:extLst>
                <a:ext uri="{FF2B5EF4-FFF2-40B4-BE49-F238E27FC236}">
                  <a16:creationId xmlns:a16="http://schemas.microsoft.com/office/drawing/2014/main" id="{A5E3FA07-B5AC-4886-A22F-1112296B829F}"/>
                </a:ext>
              </a:extLst>
            </p:cNvPr>
            <p:cNvSpPr/>
            <p:nvPr/>
          </p:nvSpPr>
          <p:spPr>
            <a:xfrm>
              <a:off x="9666247" y="3541289"/>
              <a:ext cx="227171" cy="19999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34" name="Group 33">
            <a:extLst>
              <a:ext uri="{FF2B5EF4-FFF2-40B4-BE49-F238E27FC236}">
                <a16:creationId xmlns:a16="http://schemas.microsoft.com/office/drawing/2014/main" id="{EDBD2E45-BD3C-431D-BAA3-6543F6826457}"/>
              </a:ext>
            </a:extLst>
          </p:cNvPr>
          <p:cNvGrpSpPr/>
          <p:nvPr/>
        </p:nvGrpSpPr>
        <p:grpSpPr>
          <a:xfrm>
            <a:off x="9996592" y="4466589"/>
            <a:ext cx="1833254" cy="199994"/>
            <a:chOff x="9156770" y="4094392"/>
            <a:chExt cx="1833254" cy="199994"/>
          </a:xfrm>
        </p:grpSpPr>
        <p:cxnSp>
          <p:nvCxnSpPr>
            <p:cNvPr id="35" name="Straight Connector 34">
              <a:extLst>
                <a:ext uri="{FF2B5EF4-FFF2-40B4-BE49-F238E27FC236}">
                  <a16:creationId xmlns:a16="http://schemas.microsoft.com/office/drawing/2014/main" id="{221B5065-007A-46F2-84B8-A91F0FACA33F}"/>
                </a:ext>
              </a:extLst>
            </p:cNvPr>
            <p:cNvCxnSpPr>
              <a:cxnSpLocks/>
            </p:cNvCxnSpPr>
            <p:nvPr/>
          </p:nvCxnSpPr>
          <p:spPr>
            <a:xfrm>
              <a:off x="9289009" y="4194389"/>
              <a:ext cx="1568776" cy="0"/>
            </a:xfrm>
            <a:prstGeom prst="line">
              <a:avLst/>
            </a:prstGeom>
          </p:spPr>
          <p:style>
            <a:lnRef idx="3">
              <a:schemeClr val="dk1"/>
            </a:lnRef>
            <a:fillRef idx="0">
              <a:schemeClr val="dk1"/>
            </a:fillRef>
            <a:effectRef idx="2">
              <a:schemeClr val="dk1"/>
            </a:effectRef>
            <a:fontRef idx="minor">
              <a:schemeClr val="tx1"/>
            </a:fontRef>
          </p:style>
        </p:cxnSp>
        <p:sp>
          <p:nvSpPr>
            <p:cNvPr id="36" name="Star: 5 Points 35">
              <a:extLst>
                <a:ext uri="{FF2B5EF4-FFF2-40B4-BE49-F238E27FC236}">
                  <a16:creationId xmlns:a16="http://schemas.microsoft.com/office/drawing/2014/main" id="{4BADCCE0-A4D9-4215-AC91-983F703C0E0B}"/>
                </a:ext>
              </a:extLst>
            </p:cNvPr>
            <p:cNvSpPr/>
            <p:nvPr/>
          </p:nvSpPr>
          <p:spPr>
            <a:xfrm>
              <a:off x="10762853" y="4094392"/>
              <a:ext cx="227171" cy="19999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Oval 36">
              <a:extLst>
                <a:ext uri="{FF2B5EF4-FFF2-40B4-BE49-F238E27FC236}">
                  <a16:creationId xmlns:a16="http://schemas.microsoft.com/office/drawing/2014/main" id="{C1E7A4F3-A521-4D1A-9324-A359A2848F45}"/>
                </a:ext>
              </a:extLst>
            </p:cNvPr>
            <p:cNvSpPr/>
            <p:nvPr/>
          </p:nvSpPr>
          <p:spPr>
            <a:xfrm>
              <a:off x="9156770" y="4112720"/>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61" name="Group 60">
            <a:extLst>
              <a:ext uri="{FF2B5EF4-FFF2-40B4-BE49-F238E27FC236}">
                <a16:creationId xmlns:a16="http://schemas.microsoft.com/office/drawing/2014/main" id="{65522755-6C1A-40A4-A054-3D2B7A561E58}"/>
              </a:ext>
            </a:extLst>
          </p:cNvPr>
          <p:cNvGrpSpPr/>
          <p:nvPr/>
        </p:nvGrpSpPr>
        <p:grpSpPr>
          <a:xfrm>
            <a:off x="9587885" y="5765672"/>
            <a:ext cx="2241961" cy="199994"/>
            <a:chOff x="9587885" y="5765672"/>
            <a:chExt cx="2241961" cy="199994"/>
          </a:xfrm>
        </p:grpSpPr>
        <p:cxnSp>
          <p:nvCxnSpPr>
            <p:cNvPr id="39" name="Straight Connector 38">
              <a:extLst>
                <a:ext uri="{FF2B5EF4-FFF2-40B4-BE49-F238E27FC236}">
                  <a16:creationId xmlns:a16="http://schemas.microsoft.com/office/drawing/2014/main" id="{E1C1447C-3785-4060-8434-337D167780AA}"/>
                </a:ext>
              </a:extLst>
            </p:cNvPr>
            <p:cNvCxnSpPr>
              <a:cxnSpLocks/>
              <a:stCxn id="41" idx="6"/>
            </p:cNvCxnSpPr>
            <p:nvPr/>
          </p:nvCxnSpPr>
          <p:spPr>
            <a:xfrm>
              <a:off x="9737460" y="5865669"/>
              <a:ext cx="1960147" cy="0"/>
            </a:xfrm>
            <a:prstGeom prst="line">
              <a:avLst/>
            </a:prstGeom>
          </p:spPr>
          <p:style>
            <a:lnRef idx="3">
              <a:schemeClr val="dk1"/>
            </a:lnRef>
            <a:fillRef idx="0">
              <a:schemeClr val="dk1"/>
            </a:fillRef>
            <a:effectRef idx="2">
              <a:schemeClr val="dk1"/>
            </a:effectRef>
            <a:fontRef idx="minor">
              <a:schemeClr val="tx1"/>
            </a:fontRef>
          </p:style>
        </p:cxnSp>
        <p:sp>
          <p:nvSpPr>
            <p:cNvPr id="40" name="Star: 5 Points 39">
              <a:extLst>
                <a:ext uri="{FF2B5EF4-FFF2-40B4-BE49-F238E27FC236}">
                  <a16:creationId xmlns:a16="http://schemas.microsoft.com/office/drawing/2014/main" id="{1C83C808-7950-45D9-8B2E-75F805DBBDAF}"/>
                </a:ext>
              </a:extLst>
            </p:cNvPr>
            <p:cNvSpPr/>
            <p:nvPr/>
          </p:nvSpPr>
          <p:spPr>
            <a:xfrm>
              <a:off x="11602675" y="5765672"/>
              <a:ext cx="227171" cy="199994"/>
            </a:xfrm>
            <a:prstGeom prst="star5">
              <a:avLst/>
            </a:prstGeom>
            <a:solidFill>
              <a:srgbClr val="00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Oval 40">
              <a:extLst>
                <a:ext uri="{FF2B5EF4-FFF2-40B4-BE49-F238E27FC236}">
                  <a16:creationId xmlns:a16="http://schemas.microsoft.com/office/drawing/2014/main" id="{1A4B0FDC-3B6B-48DA-BFE1-2E0FF147C8FE}"/>
                </a:ext>
              </a:extLst>
            </p:cNvPr>
            <p:cNvSpPr/>
            <p:nvPr/>
          </p:nvSpPr>
          <p:spPr>
            <a:xfrm>
              <a:off x="9587885" y="5784000"/>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42" name="TextBox 41">
            <a:extLst>
              <a:ext uri="{FF2B5EF4-FFF2-40B4-BE49-F238E27FC236}">
                <a16:creationId xmlns:a16="http://schemas.microsoft.com/office/drawing/2014/main" id="{8FD987F4-764C-41CD-AD24-FB6342BE8604}"/>
              </a:ext>
            </a:extLst>
          </p:cNvPr>
          <p:cNvSpPr txBox="1"/>
          <p:nvPr/>
        </p:nvSpPr>
        <p:spPr>
          <a:xfrm>
            <a:off x="7243049" y="3652237"/>
            <a:ext cx="329119" cy="230832"/>
          </a:xfrm>
          <a:prstGeom prst="rect">
            <a:avLst/>
          </a:prstGeom>
          <a:noFill/>
        </p:spPr>
        <p:txBody>
          <a:bodyPr wrap="square" rtlCol="0">
            <a:spAutoFit/>
          </a:bodyPr>
          <a:lstStyle/>
          <a:p>
            <a:r>
              <a:rPr lang="fr-FR" sz="900" dirty="0">
                <a:latin typeface="Verdana" panose="020B0604030504040204" pitchFamily="34" charset="0"/>
                <a:ea typeface="Verdana" panose="020B0604030504040204" pitchFamily="34" charset="0"/>
              </a:rPr>
              <a:t>v1</a:t>
            </a:r>
          </a:p>
        </p:txBody>
      </p:sp>
      <p:sp>
        <p:nvSpPr>
          <p:cNvPr id="43" name="TextBox 42">
            <a:extLst>
              <a:ext uri="{FF2B5EF4-FFF2-40B4-BE49-F238E27FC236}">
                <a16:creationId xmlns:a16="http://schemas.microsoft.com/office/drawing/2014/main" id="{5937FCD4-3805-42AF-8308-41A6CD4398BF}"/>
              </a:ext>
            </a:extLst>
          </p:cNvPr>
          <p:cNvSpPr txBox="1"/>
          <p:nvPr/>
        </p:nvSpPr>
        <p:spPr>
          <a:xfrm>
            <a:off x="10435638" y="3652237"/>
            <a:ext cx="329119" cy="230832"/>
          </a:xfrm>
          <a:prstGeom prst="rect">
            <a:avLst/>
          </a:prstGeom>
          <a:noFill/>
        </p:spPr>
        <p:txBody>
          <a:bodyPr wrap="square" rtlCol="0">
            <a:spAutoFit/>
          </a:bodyPr>
          <a:lstStyle/>
          <a:p>
            <a:r>
              <a:rPr lang="fr-FR" sz="900" dirty="0">
                <a:latin typeface="Verdana" panose="020B0604030504040204" pitchFamily="34" charset="0"/>
                <a:ea typeface="Verdana" panose="020B0604030504040204" pitchFamily="34" charset="0"/>
              </a:rPr>
              <a:t>v2</a:t>
            </a:r>
          </a:p>
        </p:txBody>
      </p:sp>
      <p:sp>
        <p:nvSpPr>
          <p:cNvPr id="44" name="TextBox 43">
            <a:extLst>
              <a:ext uri="{FF2B5EF4-FFF2-40B4-BE49-F238E27FC236}">
                <a16:creationId xmlns:a16="http://schemas.microsoft.com/office/drawing/2014/main" id="{CADA2B11-A785-425C-B1EB-F5F7085B52E6}"/>
              </a:ext>
            </a:extLst>
          </p:cNvPr>
          <p:cNvSpPr txBox="1"/>
          <p:nvPr/>
        </p:nvSpPr>
        <p:spPr>
          <a:xfrm>
            <a:off x="7691477" y="4297081"/>
            <a:ext cx="326909" cy="230832"/>
          </a:xfrm>
          <a:prstGeom prst="rect">
            <a:avLst/>
          </a:prstGeom>
          <a:noFill/>
        </p:spPr>
        <p:txBody>
          <a:bodyPr wrap="square" rtlCol="0">
            <a:spAutoFit/>
          </a:bodyPr>
          <a:lstStyle/>
          <a:p>
            <a:r>
              <a:rPr lang="fr-FR" sz="900" dirty="0">
                <a:latin typeface="Verdana" panose="020B0604030504040204" pitchFamily="34" charset="0"/>
                <a:ea typeface="Verdana" panose="020B0604030504040204" pitchFamily="34" charset="0"/>
              </a:rPr>
              <a:t>v1</a:t>
            </a:r>
          </a:p>
        </p:txBody>
      </p:sp>
      <p:sp>
        <p:nvSpPr>
          <p:cNvPr id="45" name="TextBox 44">
            <a:extLst>
              <a:ext uri="{FF2B5EF4-FFF2-40B4-BE49-F238E27FC236}">
                <a16:creationId xmlns:a16="http://schemas.microsoft.com/office/drawing/2014/main" id="{9709D6F6-82A7-41C0-9815-4AC09C7E1DAC}"/>
              </a:ext>
            </a:extLst>
          </p:cNvPr>
          <p:cNvSpPr txBox="1"/>
          <p:nvPr/>
        </p:nvSpPr>
        <p:spPr>
          <a:xfrm>
            <a:off x="11532244" y="4297081"/>
            <a:ext cx="329119" cy="230832"/>
          </a:xfrm>
          <a:prstGeom prst="rect">
            <a:avLst/>
          </a:prstGeom>
          <a:noFill/>
        </p:spPr>
        <p:txBody>
          <a:bodyPr wrap="square" rtlCol="0">
            <a:spAutoFit/>
          </a:bodyPr>
          <a:lstStyle/>
          <a:p>
            <a:r>
              <a:rPr lang="fr-FR" sz="900" dirty="0">
                <a:latin typeface="Verdana" panose="020B0604030504040204" pitchFamily="34" charset="0"/>
                <a:ea typeface="Verdana" panose="020B0604030504040204" pitchFamily="34" charset="0"/>
              </a:rPr>
              <a:t>v2</a:t>
            </a:r>
          </a:p>
        </p:txBody>
      </p:sp>
      <p:sp>
        <p:nvSpPr>
          <p:cNvPr id="46" name="Rectangle 45">
            <a:extLst>
              <a:ext uri="{FF2B5EF4-FFF2-40B4-BE49-F238E27FC236}">
                <a16:creationId xmlns:a16="http://schemas.microsoft.com/office/drawing/2014/main" id="{0D182B79-E8E1-4279-A59F-AE545E150C38}"/>
              </a:ext>
            </a:extLst>
          </p:cNvPr>
          <p:cNvSpPr/>
          <p:nvPr/>
        </p:nvSpPr>
        <p:spPr>
          <a:xfrm>
            <a:off x="2291015" y="960559"/>
            <a:ext cx="9380288" cy="276999"/>
          </a:xfrm>
          <a:prstGeom prst="rect">
            <a:avLst/>
          </a:prstGeom>
        </p:spPr>
        <p:txBody>
          <a:bodyPr wrap="square">
            <a:spAutoFit/>
          </a:bodyPr>
          <a:lstStyle/>
          <a:p>
            <a:pPr lvl="1" algn="just" defTabSz="914389">
              <a:spcBef>
                <a:spcPts val="635"/>
              </a:spcBef>
              <a:spcAft>
                <a:spcPts val="635"/>
              </a:spcAft>
              <a:defRPr/>
            </a:pPr>
            <a:r>
              <a:rPr lang="fr-FR" sz="1200" dirty="0">
                <a:effectLst/>
                <a:latin typeface="Verdana" panose="020B0604030504040204" pitchFamily="34" charset="0"/>
                <a:ea typeface="Calibri" panose="020F0502020204030204" pitchFamily="34" charset="0"/>
                <a:cs typeface="FuturaBT-Light"/>
              </a:rPr>
              <a:t>Roadmap des activités effectués pour la mission cliente </a:t>
            </a:r>
            <a:endParaRPr lang="fr-FR"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47" name="Group 27">
            <a:extLst>
              <a:ext uri="{FF2B5EF4-FFF2-40B4-BE49-F238E27FC236}">
                <a16:creationId xmlns:a16="http://schemas.microsoft.com/office/drawing/2014/main" id="{F30C595A-B343-40AD-9E31-CC0D5E412108}"/>
              </a:ext>
            </a:extLst>
          </p:cNvPr>
          <p:cNvGrpSpPr/>
          <p:nvPr/>
        </p:nvGrpSpPr>
        <p:grpSpPr>
          <a:xfrm>
            <a:off x="2427106" y="1021032"/>
            <a:ext cx="349382" cy="192399"/>
            <a:chOff x="488661" y="2613666"/>
            <a:chExt cx="349382" cy="192399"/>
          </a:xfrm>
          <a:solidFill>
            <a:schemeClr val="accent1"/>
          </a:solidFill>
        </p:grpSpPr>
        <p:sp>
          <p:nvSpPr>
            <p:cNvPr id="48" name="Chevron 57">
              <a:extLst>
                <a:ext uri="{FF2B5EF4-FFF2-40B4-BE49-F238E27FC236}">
                  <a16:creationId xmlns:a16="http://schemas.microsoft.com/office/drawing/2014/main" id="{597E2DD2-81E4-4970-BA59-C80BF75F1D51}"/>
                </a:ext>
              </a:extLst>
            </p:cNvPr>
            <p:cNvSpPr/>
            <p:nvPr/>
          </p:nvSpPr>
          <p:spPr bwMode="gray">
            <a:xfrm>
              <a:off x="488661"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sp>
          <p:nvSpPr>
            <p:cNvPr id="49" name="Chevron 58">
              <a:extLst>
                <a:ext uri="{FF2B5EF4-FFF2-40B4-BE49-F238E27FC236}">
                  <a16:creationId xmlns:a16="http://schemas.microsoft.com/office/drawing/2014/main" id="{359759CD-D9B8-4A65-B4C9-EA538E29B6EC}"/>
                </a:ext>
              </a:extLst>
            </p:cNvPr>
            <p:cNvSpPr/>
            <p:nvPr/>
          </p:nvSpPr>
          <p:spPr bwMode="gray">
            <a:xfrm>
              <a:off x="621670"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grpSp>
      <p:grpSp>
        <p:nvGrpSpPr>
          <p:cNvPr id="50" name="Group 49">
            <a:extLst>
              <a:ext uri="{FF2B5EF4-FFF2-40B4-BE49-F238E27FC236}">
                <a16:creationId xmlns:a16="http://schemas.microsoft.com/office/drawing/2014/main" id="{45DD5B57-C0B2-4A13-AFAE-0F44D29AE45C}"/>
              </a:ext>
            </a:extLst>
          </p:cNvPr>
          <p:cNvGrpSpPr/>
          <p:nvPr/>
        </p:nvGrpSpPr>
        <p:grpSpPr>
          <a:xfrm>
            <a:off x="5701887" y="5124424"/>
            <a:ext cx="1335071" cy="199994"/>
            <a:chOff x="4395340" y="3059880"/>
            <a:chExt cx="1335071" cy="199994"/>
          </a:xfrm>
        </p:grpSpPr>
        <p:sp>
          <p:nvSpPr>
            <p:cNvPr id="51" name="Oval 50">
              <a:extLst>
                <a:ext uri="{FF2B5EF4-FFF2-40B4-BE49-F238E27FC236}">
                  <a16:creationId xmlns:a16="http://schemas.microsoft.com/office/drawing/2014/main" id="{C04CE9F7-7BB5-4BA4-9FE2-6B370E71E2BF}"/>
                </a:ext>
              </a:extLst>
            </p:cNvPr>
            <p:cNvSpPr/>
            <p:nvPr/>
          </p:nvSpPr>
          <p:spPr>
            <a:xfrm>
              <a:off x="4395340" y="3078208"/>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52" name="Straight Connector 51">
              <a:extLst>
                <a:ext uri="{FF2B5EF4-FFF2-40B4-BE49-F238E27FC236}">
                  <a16:creationId xmlns:a16="http://schemas.microsoft.com/office/drawing/2014/main" id="{A98CDA3C-FEE6-489A-A48A-26CEB7AB1410}"/>
                </a:ext>
              </a:extLst>
            </p:cNvPr>
            <p:cNvCxnSpPr>
              <a:cxnSpLocks/>
            </p:cNvCxnSpPr>
            <p:nvPr/>
          </p:nvCxnSpPr>
          <p:spPr>
            <a:xfrm>
              <a:off x="4544915" y="3159877"/>
              <a:ext cx="1035921" cy="0"/>
            </a:xfrm>
            <a:prstGeom prst="line">
              <a:avLst/>
            </a:prstGeom>
          </p:spPr>
          <p:style>
            <a:lnRef idx="3">
              <a:schemeClr val="dk1"/>
            </a:lnRef>
            <a:fillRef idx="0">
              <a:schemeClr val="dk1"/>
            </a:fillRef>
            <a:effectRef idx="2">
              <a:schemeClr val="dk1"/>
            </a:effectRef>
            <a:fontRef idx="minor">
              <a:schemeClr val="tx1"/>
            </a:fontRef>
          </p:style>
        </p:cxnSp>
        <p:sp>
          <p:nvSpPr>
            <p:cNvPr id="53" name="Star: 5 Points 52">
              <a:extLst>
                <a:ext uri="{FF2B5EF4-FFF2-40B4-BE49-F238E27FC236}">
                  <a16:creationId xmlns:a16="http://schemas.microsoft.com/office/drawing/2014/main" id="{25F8DF1F-2CFD-4C3E-95AC-8CCC23DD59FA}"/>
                </a:ext>
              </a:extLst>
            </p:cNvPr>
            <p:cNvSpPr/>
            <p:nvPr/>
          </p:nvSpPr>
          <p:spPr>
            <a:xfrm>
              <a:off x="5503240" y="3059880"/>
              <a:ext cx="227171" cy="19999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59" name="Group 58">
            <a:extLst>
              <a:ext uri="{FF2B5EF4-FFF2-40B4-BE49-F238E27FC236}">
                <a16:creationId xmlns:a16="http://schemas.microsoft.com/office/drawing/2014/main" id="{C0C3E6A2-D278-4B50-9617-DC214337F6C3}"/>
              </a:ext>
            </a:extLst>
          </p:cNvPr>
          <p:cNvGrpSpPr/>
          <p:nvPr/>
        </p:nvGrpSpPr>
        <p:grpSpPr>
          <a:xfrm>
            <a:off x="7930737" y="5115247"/>
            <a:ext cx="2425265" cy="199994"/>
            <a:chOff x="7930737" y="5115247"/>
            <a:chExt cx="2425265" cy="199994"/>
          </a:xfrm>
        </p:grpSpPr>
        <p:sp>
          <p:nvSpPr>
            <p:cNvPr id="55" name="Oval 54">
              <a:extLst>
                <a:ext uri="{FF2B5EF4-FFF2-40B4-BE49-F238E27FC236}">
                  <a16:creationId xmlns:a16="http://schemas.microsoft.com/office/drawing/2014/main" id="{5E1928D8-CA63-47F9-8A5A-FA6B29C863C0}"/>
                </a:ext>
              </a:extLst>
            </p:cNvPr>
            <p:cNvSpPr/>
            <p:nvPr/>
          </p:nvSpPr>
          <p:spPr>
            <a:xfrm>
              <a:off x="7930737" y="5133575"/>
              <a:ext cx="149575" cy="1633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56" name="Straight Connector 55">
              <a:extLst>
                <a:ext uri="{FF2B5EF4-FFF2-40B4-BE49-F238E27FC236}">
                  <a16:creationId xmlns:a16="http://schemas.microsoft.com/office/drawing/2014/main" id="{593D0CD1-0835-497B-9080-9D0B2233214C}"/>
                </a:ext>
              </a:extLst>
            </p:cNvPr>
            <p:cNvCxnSpPr>
              <a:cxnSpLocks/>
            </p:cNvCxnSpPr>
            <p:nvPr/>
          </p:nvCxnSpPr>
          <p:spPr>
            <a:xfrm>
              <a:off x="8080312" y="5215244"/>
              <a:ext cx="2165315" cy="0"/>
            </a:xfrm>
            <a:prstGeom prst="line">
              <a:avLst/>
            </a:prstGeom>
          </p:spPr>
          <p:style>
            <a:lnRef idx="3">
              <a:schemeClr val="dk1"/>
            </a:lnRef>
            <a:fillRef idx="0">
              <a:schemeClr val="dk1"/>
            </a:fillRef>
            <a:effectRef idx="2">
              <a:schemeClr val="dk1"/>
            </a:effectRef>
            <a:fontRef idx="minor">
              <a:schemeClr val="tx1"/>
            </a:fontRef>
          </p:style>
        </p:cxnSp>
        <p:sp>
          <p:nvSpPr>
            <p:cNvPr id="57" name="Star: 5 Points 56">
              <a:extLst>
                <a:ext uri="{FF2B5EF4-FFF2-40B4-BE49-F238E27FC236}">
                  <a16:creationId xmlns:a16="http://schemas.microsoft.com/office/drawing/2014/main" id="{DC3C7EAB-228A-41E0-8F72-81556EDA8270}"/>
                </a:ext>
              </a:extLst>
            </p:cNvPr>
            <p:cNvSpPr/>
            <p:nvPr/>
          </p:nvSpPr>
          <p:spPr>
            <a:xfrm>
              <a:off x="10128831" y="5115247"/>
              <a:ext cx="227171" cy="199994"/>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60" name="ZoneTexte 128">
            <a:extLst>
              <a:ext uri="{FF2B5EF4-FFF2-40B4-BE49-F238E27FC236}">
                <a16:creationId xmlns:a16="http://schemas.microsoft.com/office/drawing/2014/main" id="{BF843DF3-4708-4A9F-9FF5-F5C0E7BEA882}"/>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dirty="0">
                <a:solidFill>
                  <a:srgbClr val="313131"/>
                </a:solidFill>
              </a:rPr>
              <a:t>Phase 1</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sp>
        <p:nvSpPr>
          <p:cNvPr id="64" name="TextBox 63">
            <a:extLst>
              <a:ext uri="{FF2B5EF4-FFF2-40B4-BE49-F238E27FC236}">
                <a16:creationId xmlns:a16="http://schemas.microsoft.com/office/drawing/2014/main" id="{2687F88F-8BC9-4C5E-A2E1-A9F12C96800C}"/>
              </a:ext>
            </a:extLst>
          </p:cNvPr>
          <p:cNvSpPr txBox="1"/>
          <p:nvPr/>
        </p:nvSpPr>
        <p:spPr>
          <a:xfrm>
            <a:off x="6787791" y="4911341"/>
            <a:ext cx="326909" cy="230832"/>
          </a:xfrm>
          <a:prstGeom prst="rect">
            <a:avLst/>
          </a:prstGeom>
          <a:noFill/>
        </p:spPr>
        <p:txBody>
          <a:bodyPr wrap="square" rtlCol="0">
            <a:spAutoFit/>
          </a:bodyPr>
          <a:lstStyle/>
          <a:p>
            <a:r>
              <a:rPr lang="fr-FR" sz="900" dirty="0">
                <a:latin typeface="Verdana" panose="020B0604030504040204" pitchFamily="34" charset="0"/>
                <a:ea typeface="Verdana" panose="020B0604030504040204" pitchFamily="34" charset="0"/>
              </a:rPr>
              <a:t>v1</a:t>
            </a:r>
          </a:p>
        </p:txBody>
      </p:sp>
      <p:sp>
        <p:nvSpPr>
          <p:cNvPr id="66" name="TextBox 65">
            <a:extLst>
              <a:ext uri="{FF2B5EF4-FFF2-40B4-BE49-F238E27FC236}">
                <a16:creationId xmlns:a16="http://schemas.microsoft.com/office/drawing/2014/main" id="{2832289C-B3BE-47C6-BA99-900700A37710}"/>
              </a:ext>
            </a:extLst>
          </p:cNvPr>
          <p:cNvSpPr txBox="1"/>
          <p:nvPr/>
        </p:nvSpPr>
        <p:spPr>
          <a:xfrm>
            <a:off x="10106519" y="4913748"/>
            <a:ext cx="329119" cy="230832"/>
          </a:xfrm>
          <a:prstGeom prst="rect">
            <a:avLst/>
          </a:prstGeom>
          <a:noFill/>
        </p:spPr>
        <p:txBody>
          <a:bodyPr wrap="square" rtlCol="0">
            <a:spAutoFit/>
          </a:bodyPr>
          <a:lstStyle/>
          <a:p>
            <a:r>
              <a:rPr lang="fr-FR" sz="900" dirty="0">
                <a:latin typeface="Verdana" panose="020B0604030504040204" pitchFamily="34" charset="0"/>
                <a:ea typeface="Verdana" panose="020B0604030504040204" pitchFamily="34" charset="0"/>
              </a:rPr>
              <a:t>v2</a:t>
            </a:r>
          </a:p>
        </p:txBody>
      </p:sp>
      <p:pic>
        <p:nvPicPr>
          <p:cNvPr id="65" name="Picture 2" descr="Eléments graphiques | INSA Lyon">
            <a:extLst>
              <a:ext uri="{FF2B5EF4-FFF2-40B4-BE49-F238E27FC236}">
                <a16:creationId xmlns:a16="http://schemas.microsoft.com/office/drawing/2014/main" id="{723AEA15-68EB-4003-A3A9-D0558AE702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a:extLst>
              <a:ext uri="{FF2B5EF4-FFF2-40B4-BE49-F238E27FC236}">
                <a16:creationId xmlns:a16="http://schemas.microsoft.com/office/drawing/2014/main" id="{03242E94-ACB8-4402-9F6C-77D66E79CE95}"/>
              </a:ext>
            </a:extLst>
          </p:cNvPr>
          <p:cNvSpPr txBox="1"/>
          <p:nvPr/>
        </p:nvSpPr>
        <p:spPr>
          <a:xfrm>
            <a:off x="8523540" y="5584839"/>
            <a:ext cx="326909" cy="230832"/>
          </a:xfrm>
          <a:prstGeom prst="rect">
            <a:avLst/>
          </a:prstGeom>
          <a:noFill/>
        </p:spPr>
        <p:txBody>
          <a:bodyPr wrap="square" rtlCol="0">
            <a:spAutoFit/>
          </a:bodyPr>
          <a:lstStyle/>
          <a:p>
            <a:r>
              <a:rPr lang="fr-FR" sz="900" dirty="0">
                <a:latin typeface="Verdana" panose="020B0604030504040204" pitchFamily="34" charset="0"/>
                <a:ea typeface="Verdana" panose="020B0604030504040204" pitchFamily="34" charset="0"/>
              </a:rPr>
              <a:t>v1</a:t>
            </a:r>
          </a:p>
        </p:txBody>
      </p:sp>
      <p:sp>
        <p:nvSpPr>
          <p:cNvPr id="68" name="TextBox 67">
            <a:extLst>
              <a:ext uri="{FF2B5EF4-FFF2-40B4-BE49-F238E27FC236}">
                <a16:creationId xmlns:a16="http://schemas.microsoft.com/office/drawing/2014/main" id="{FFAA48AF-54AC-4A34-A5D5-D213810B63DD}"/>
              </a:ext>
            </a:extLst>
          </p:cNvPr>
          <p:cNvSpPr txBox="1"/>
          <p:nvPr/>
        </p:nvSpPr>
        <p:spPr>
          <a:xfrm>
            <a:off x="11551700" y="5584839"/>
            <a:ext cx="329119" cy="230832"/>
          </a:xfrm>
          <a:prstGeom prst="rect">
            <a:avLst/>
          </a:prstGeom>
          <a:noFill/>
        </p:spPr>
        <p:txBody>
          <a:bodyPr wrap="square" rtlCol="0">
            <a:spAutoFit/>
          </a:bodyPr>
          <a:lstStyle/>
          <a:p>
            <a:r>
              <a:rPr lang="fr-FR" sz="900" dirty="0">
                <a:latin typeface="Verdana" panose="020B0604030504040204" pitchFamily="34" charset="0"/>
                <a:ea typeface="Verdana" panose="020B0604030504040204" pitchFamily="34" charset="0"/>
              </a:rPr>
              <a:t>v2</a:t>
            </a:r>
          </a:p>
        </p:txBody>
      </p:sp>
    </p:spTree>
    <p:extLst>
      <p:ext uri="{BB962C8B-B14F-4D97-AF65-F5344CB8AC3E}">
        <p14:creationId xmlns:p14="http://schemas.microsoft.com/office/powerpoint/2010/main" val="27159088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F1F541-4BD3-4697-8148-3AA629B6F5F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noFill/>
        </p:spPr>
      </p:pic>
      <p:sp>
        <p:nvSpPr>
          <p:cNvPr id="3" name="Text Placeholder 6">
            <a:extLst>
              <a:ext uri="{FF2B5EF4-FFF2-40B4-BE49-F238E27FC236}">
                <a16:creationId xmlns:a16="http://schemas.microsoft.com/office/drawing/2014/main" id="{AB71458B-AC4E-4EE7-9524-19F01E55AEEC}"/>
              </a:ext>
            </a:extLst>
          </p:cNvPr>
          <p:cNvSpPr txBox="1">
            <a:spLocks/>
          </p:cNvSpPr>
          <p:nvPr/>
        </p:nvSpPr>
        <p:spPr>
          <a:xfrm>
            <a:off x="350981" y="3344276"/>
            <a:ext cx="6135543" cy="590996"/>
          </a:xfrm>
          <a:prstGeom prst="rect">
            <a:avLst/>
          </a:prstGeom>
        </p:spPr>
        <p:txBody>
          <a:bodyPr wrap="square">
            <a:spAutoFit/>
          </a:bodyPr>
          <a:lstStyle>
            <a:lvl1pPr marL="0" indent="0" algn="l" defTabSz="1069215" rtl="0" eaLnBrk="1" latinLnBrk="0" hangingPunct="1">
              <a:lnSpc>
                <a:spcPts val="4340"/>
              </a:lnSpc>
              <a:spcBef>
                <a:spcPts val="0"/>
              </a:spcBef>
              <a:spcAft>
                <a:spcPts val="1169"/>
              </a:spcAft>
              <a:buSzPct val="100000"/>
              <a:buFontTx/>
              <a:buNone/>
              <a:defRPr sz="3200" b="0" i="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1069215" rtl="0" eaLnBrk="1" latinLnBrk="0" hangingPunct="1">
              <a:spcBef>
                <a:spcPts val="0"/>
              </a:spcBef>
              <a:spcAft>
                <a:spcPts val="1169"/>
              </a:spcAft>
              <a:buClrTx/>
              <a:buSzPct val="100000"/>
              <a:buFontTx/>
              <a:buNone/>
              <a:defRPr lang="en-US" sz="1270" b="1" kern="1200">
                <a:solidFill>
                  <a:schemeClr val="tx1"/>
                </a:solidFill>
                <a:latin typeface="+mj-lt"/>
                <a:ea typeface="+mn-ea"/>
                <a:cs typeface="Calibri Light" panose="020F0302020204030204" pitchFamily="34" charset="0"/>
              </a:defRPr>
            </a:lvl2pPr>
            <a:lvl3pPr marL="914400" indent="0" algn="l" defTabSz="1069215" rtl="0" eaLnBrk="1" latinLnBrk="0" hangingPunct="1">
              <a:spcBef>
                <a:spcPts val="0"/>
              </a:spcBef>
              <a:spcAft>
                <a:spcPts val="1169"/>
              </a:spcAft>
              <a:buClrTx/>
              <a:buSzPct val="100000"/>
              <a:buFontTx/>
              <a:buNone/>
              <a:defRPr lang="en-US" sz="1270" kern="1200">
                <a:solidFill>
                  <a:schemeClr val="tx1"/>
                </a:solidFill>
                <a:latin typeface="+mn-lt"/>
                <a:ea typeface="+mn-ea"/>
                <a:cs typeface="Calibri Light" panose="020F0302020204030204" pitchFamily="34" charset="0"/>
              </a:defRPr>
            </a:lvl3pPr>
            <a:lvl4pPr marL="1371600" indent="0" algn="l" defTabSz="1069215" rtl="0" eaLnBrk="1" latinLnBrk="0" hangingPunct="1">
              <a:spcBef>
                <a:spcPts val="0"/>
              </a:spcBef>
              <a:spcAft>
                <a:spcPts val="1169"/>
              </a:spcAft>
              <a:buClrTx/>
              <a:buSzPct val="100000"/>
              <a:buFontTx/>
              <a:buNone/>
              <a:defRPr lang="en-US" sz="1270" kern="1200" baseline="0">
                <a:solidFill>
                  <a:schemeClr val="tx1"/>
                </a:solidFill>
                <a:latin typeface="+mn-lt"/>
                <a:ea typeface="+mn-ea"/>
                <a:cs typeface="Calibri Light" panose="020F0302020204030204" pitchFamily="34" charset="0"/>
              </a:defRPr>
            </a:lvl4pPr>
            <a:lvl5pPr marL="1828800" indent="0" algn="l" defTabSz="933707" rtl="0" eaLnBrk="1" latinLnBrk="0" hangingPunct="1">
              <a:spcBef>
                <a:spcPts val="0"/>
              </a:spcBef>
              <a:spcAft>
                <a:spcPts val="1169"/>
              </a:spcAft>
              <a:buClrTx/>
              <a:buSzPct val="100000"/>
              <a:buFontTx/>
              <a:buNone/>
              <a:tabLst/>
              <a:defRPr lang="en-US" sz="1270" kern="1200" baseline="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r>
              <a:rPr lang="en-US" b="1" dirty="0">
                <a:latin typeface="Verdana" panose="020B0604030504040204" pitchFamily="34" charset="0"/>
                <a:ea typeface="Verdana" panose="020B0604030504040204" pitchFamily="34" charset="0"/>
              </a:rPr>
              <a:t>05 – SHS</a:t>
            </a:r>
          </a:p>
        </p:txBody>
      </p:sp>
    </p:spTree>
    <p:extLst>
      <p:ext uri="{BB962C8B-B14F-4D97-AF65-F5344CB8AC3E}">
        <p14:creationId xmlns:p14="http://schemas.microsoft.com/office/powerpoint/2010/main" val="416513033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Title 1">
            <a:extLst>
              <a:ext uri="{FF2B5EF4-FFF2-40B4-BE49-F238E27FC236}">
                <a16:creationId xmlns:a16="http://schemas.microsoft.com/office/drawing/2014/main" id="{F1F085BE-52B1-4AA9-86B6-BB3BECBE6F57}"/>
              </a:ext>
            </a:extLst>
          </p:cNvPr>
          <p:cNvSpPr>
            <a:spLocks noGrp="1"/>
          </p:cNvSpPr>
          <p:nvPr>
            <p:ph type="title"/>
          </p:nvPr>
        </p:nvSpPr>
        <p:spPr>
          <a:xfrm>
            <a:off x="2381250" y="343190"/>
            <a:ext cx="6743700" cy="309820"/>
          </a:xfrm>
        </p:spPr>
        <p:txBody>
          <a:bodyPr/>
          <a:lstStyle/>
          <a:p>
            <a:r>
              <a:rPr lang="fr-FR" sz="2800" b="1" dirty="0">
                <a:solidFill>
                  <a:schemeClr val="accent1"/>
                </a:solidFill>
              </a:rPr>
              <a:t>SHS</a:t>
            </a:r>
          </a:p>
        </p:txBody>
      </p:sp>
      <p:sp>
        <p:nvSpPr>
          <p:cNvPr id="98" name="Rectangle 97">
            <a:extLst>
              <a:ext uri="{FF2B5EF4-FFF2-40B4-BE49-F238E27FC236}">
                <a16:creationId xmlns:a16="http://schemas.microsoft.com/office/drawing/2014/main" id="{4F0F1582-8946-44ED-8134-29B3FECCC4C6}"/>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100" name="Picture 4" descr="Deloitte Consulting LLP - Partner - Boomi">
            <a:extLst>
              <a:ext uri="{FF2B5EF4-FFF2-40B4-BE49-F238E27FC236}">
                <a16:creationId xmlns:a16="http://schemas.microsoft.com/office/drawing/2014/main" id="{22F1DF83-0F27-4E67-91A7-E07AE94014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3B0F9E0-48E1-4F4A-A647-974A687B47A8}"/>
              </a:ext>
            </a:extLst>
          </p:cNvPr>
          <p:cNvSpPr txBox="1"/>
          <p:nvPr/>
        </p:nvSpPr>
        <p:spPr>
          <a:xfrm>
            <a:off x="4154343" y="1031983"/>
            <a:ext cx="6180282" cy="307777"/>
          </a:xfrm>
          <a:prstGeom prst="rect">
            <a:avLst/>
          </a:prstGeom>
          <a:noFill/>
        </p:spPr>
        <p:txBody>
          <a:bodyPr wrap="square" lIns="0" tIns="0" rIns="0" bIns="0" rtlCol="0">
            <a:spAutoFit/>
          </a:bodyPr>
          <a:lstStyle/>
          <a:p>
            <a:pPr>
              <a:spcBef>
                <a:spcPts val="600"/>
              </a:spcBef>
              <a:buSzPct val="100000"/>
            </a:pPr>
            <a:r>
              <a:rPr lang="fr-FR" sz="2000" b="1" dirty="0">
                <a:solidFill>
                  <a:schemeClr val="accent3"/>
                </a:solidFill>
              </a:rPr>
              <a:t>« La conduite du changement au sein de l’entreprise »</a:t>
            </a:r>
          </a:p>
        </p:txBody>
      </p:sp>
      <p:sp>
        <p:nvSpPr>
          <p:cNvPr id="3" name="Rectangle 2">
            <a:extLst>
              <a:ext uri="{FF2B5EF4-FFF2-40B4-BE49-F238E27FC236}">
                <a16:creationId xmlns:a16="http://schemas.microsoft.com/office/drawing/2014/main" id="{4A91B45C-9EBE-4F61-BE14-E00F2B2AFA33}"/>
              </a:ext>
            </a:extLst>
          </p:cNvPr>
          <p:cNvSpPr/>
          <p:nvPr/>
        </p:nvSpPr>
        <p:spPr bwMode="gray">
          <a:xfrm>
            <a:off x="2651139" y="1626785"/>
            <a:ext cx="9173441" cy="1984633"/>
          </a:xfrm>
          <a:prstGeom prst="rect">
            <a:avLst/>
          </a:prstGeom>
          <a:ln>
            <a:solidFill>
              <a:srgbClr val="C0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5" name="Rectangle 14">
            <a:extLst>
              <a:ext uri="{FF2B5EF4-FFF2-40B4-BE49-F238E27FC236}">
                <a16:creationId xmlns:a16="http://schemas.microsoft.com/office/drawing/2014/main" id="{24C0F333-CDBD-4FCA-8847-FB4FCE5B06EE}"/>
              </a:ext>
            </a:extLst>
          </p:cNvPr>
          <p:cNvSpPr/>
          <p:nvPr/>
        </p:nvSpPr>
        <p:spPr bwMode="gray">
          <a:xfrm>
            <a:off x="2680170" y="4051331"/>
            <a:ext cx="9173441" cy="1984633"/>
          </a:xfrm>
          <a:prstGeom prst="rect">
            <a:avLst/>
          </a:prstGeom>
          <a:ln>
            <a:solidFill>
              <a:schemeClr val="accent1"/>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nvGrpSpPr>
          <p:cNvPr id="5" name="Group 4">
            <a:extLst>
              <a:ext uri="{FF2B5EF4-FFF2-40B4-BE49-F238E27FC236}">
                <a16:creationId xmlns:a16="http://schemas.microsoft.com/office/drawing/2014/main" id="{E0BC5781-B020-4662-A674-BACB3D44A7C4}"/>
              </a:ext>
            </a:extLst>
          </p:cNvPr>
          <p:cNvGrpSpPr/>
          <p:nvPr/>
        </p:nvGrpSpPr>
        <p:grpSpPr>
          <a:xfrm>
            <a:off x="3254783" y="1947138"/>
            <a:ext cx="1108364" cy="1426093"/>
            <a:chOff x="3120736" y="1813788"/>
            <a:chExt cx="1108364" cy="1426093"/>
          </a:xfrm>
        </p:grpSpPr>
        <p:pic>
          <p:nvPicPr>
            <p:cNvPr id="1026" name="Picture 2">
              <a:extLst>
                <a:ext uri="{FF2B5EF4-FFF2-40B4-BE49-F238E27FC236}">
                  <a16:creationId xmlns:a16="http://schemas.microsoft.com/office/drawing/2014/main" id="{20EB85DA-A857-44B5-B3A9-80EE3FE9E2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0432" y="1813788"/>
              <a:ext cx="828973" cy="82897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0D262E4-3AFD-4B83-8905-A248ECB0B2A2}"/>
                </a:ext>
              </a:extLst>
            </p:cNvPr>
            <p:cNvSpPr txBox="1"/>
            <p:nvPr/>
          </p:nvSpPr>
          <p:spPr>
            <a:xfrm>
              <a:off x="3120736" y="2962882"/>
              <a:ext cx="1108364" cy="276999"/>
            </a:xfrm>
            <a:prstGeom prst="rect">
              <a:avLst/>
            </a:prstGeom>
            <a:noFill/>
          </p:spPr>
          <p:txBody>
            <a:bodyPr wrap="square" lIns="0" tIns="0" rIns="0" bIns="0" rtlCol="0">
              <a:spAutoFit/>
            </a:bodyPr>
            <a:lstStyle/>
            <a:p>
              <a:pPr>
                <a:spcBef>
                  <a:spcPts val="600"/>
                </a:spcBef>
                <a:buSzPct val="100000"/>
              </a:pPr>
              <a:r>
                <a:rPr lang="fr-FR" dirty="0">
                  <a:solidFill>
                    <a:srgbClr val="313131"/>
                  </a:solidFill>
                </a:rPr>
                <a:t>Calendrier</a:t>
              </a:r>
            </a:p>
          </p:txBody>
        </p:sp>
      </p:grpSp>
      <p:grpSp>
        <p:nvGrpSpPr>
          <p:cNvPr id="6" name="Group 5">
            <a:extLst>
              <a:ext uri="{FF2B5EF4-FFF2-40B4-BE49-F238E27FC236}">
                <a16:creationId xmlns:a16="http://schemas.microsoft.com/office/drawing/2014/main" id="{0509CAFF-9721-4032-8586-32B77A2C3E8E}"/>
              </a:ext>
            </a:extLst>
          </p:cNvPr>
          <p:cNvGrpSpPr/>
          <p:nvPr/>
        </p:nvGrpSpPr>
        <p:grpSpPr>
          <a:xfrm>
            <a:off x="5881599" y="1947137"/>
            <a:ext cx="828974" cy="1426094"/>
            <a:chOff x="5527334" y="1813787"/>
            <a:chExt cx="828974" cy="1426094"/>
          </a:xfrm>
        </p:grpSpPr>
        <p:pic>
          <p:nvPicPr>
            <p:cNvPr id="1030" name="Picture 6">
              <a:extLst>
                <a:ext uri="{FF2B5EF4-FFF2-40B4-BE49-F238E27FC236}">
                  <a16:creationId xmlns:a16="http://schemas.microsoft.com/office/drawing/2014/main" id="{2F2D06D5-4F15-400C-BBF1-B798A78A7C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7334" y="1813787"/>
              <a:ext cx="828974" cy="82897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326B4BCF-B1C0-4F18-AE29-34E7AFABE9DF}"/>
                </a:ext>
              </a:extLst>
            </p:cNvPr>
            <p:cNvSpPr txBox="1"/>
            <p:nvPr/>
          </p:nvSpPr>
          <p:spPr>
            <a:xfrm>
              <a:off x="5615662" y="2962882"/>
              <a:ext cx="652319" cy="276999"/>
            </a:xfrm>
            <a:prstGeom prst="rect">
              <a:avLst/>
            </a:prstGeom>
            <a:noFill/>
          </p:spPr>
          <p:txBody>
            <a:bodyPr wrap="square" lIns="0" tIns="0" rIns="0" bIns="0" rtlCol="0">
              <a:spAutoFit/>
            </a:bodyPr>
            <a:lstStyle/>
            <a:p>
              <a:pPr>
                <a:spcBef>
                  <a:spcPts val="600"/>
                </a:spcBef>
                <a:buSzPct val="100000"/>
              </a:pPr>
              <a:r>
                <a:rPr lang="fr-FR" dirty="0">
                  <a:solidFill>
                    <a:srgbClr val="313131"/>
                  </a:solidFill>
                </a:rPr>
                <a:t>Portée</a:t>
              </a:r>
            </a:p>
          </p:txBody>
        </p:sp>
      </p:grpSp>
      <p:grpSp>
        <p:nvGrpSpPr>
          <p:cNvPr id="7" name="Group 6">
            <a:extLst>
              <a:ext uri="{FF2B5EF4-FFF2-40B4-BE49-F238E27FC236}">
                <a16:creationId xmlns:a16="http://schemas.microsoft.com/office/drawing/2014/main" id="{E6E447E8-A9AE-4623-930D-121CA1A547E5}"/>
              </a:ext>
            </a:extLst>
          </p:cNvPr>
          <p:cNvGrpSpPr/>
          <p:nvPr/>
        </p:nvGrpSpPr>
        <p:grpSpPr>
          <a:xfrm>
            <a:off x="8229025" y="1947137"/>
            <a:ext cx="828974" cy="1426094"/>
            <a:chOff x="8040636" y="1813787"/>
            <a:chExt cx="828974" cy="1426094"/>
          </a:xfrm>
        </p:grpSpPr>
        <p:pic>
          <p:nvPicPr>
            <p:cNvPr id="1032" name="Picture 8">
              <a:extLst>
                <a:ext uri="{FF2B5EF4-FFF2-40B4-BE49-F238E27FC236}">
                  <a16:creationId xmlns:a16="http://schemas.microsoft.com/office/drawing/2014/main" id="{7A886971-B6D4-4B0F-8C44-217B987893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40636" y="1813787"/>
              <a:ext cx="828974" cy="828974"/>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23404258-688D-4A91-985C-8E0E2AC88927}"/>
                </a:ext>
              </a:extLst>
            </p:cNvPr>
            <p:cNvSpPr txBox="1"/>
            <p:nvPr/>
          </p:nvSpPr>
          <p:spPr>
            <a:xfrm>
              <a:off x="8040636" y="2962882"/>
              <a:ext cx="828974" cy="276999"/>
            </a:xfrm>
            <a:prstGeom prst="rect">
              <a:avLst/>
            </a:prstGeom>
            <a:noFill/>
          </p:spPr>
          <p:txBody>
            <a:bodyPr wrap="square" lIns="0" tIns="0" rIns="0" bIns="0" rtlCol="0">
              <a:spAutoFit/>
            </a:bodyPr>
            <a:lstStyle/>
            <a:p>
              <a:pPr>
                <a:spcBef>
                  <a:spcPts val="600"/>
                </a:spcBef>
                <a:buSzPct val="100000"/>
              </a:pPr>
              <a:r>
                <a:rPr lang="fr-FR" dirty="0">
                  <a:solidFill>
                    <a:srgbClr val="313131"/>
                  </a:solidFill>
                </a:rPr>
                <a:t>Qualité</a:t>
              </a:r>
            </a:p>
          </p:txBody>
        </p:sp>
      </p:grpSp>
      <p:grpSp>
        <p:nvGrpSpPr>
          <p:cNvPr id="8" name="Group 7">
            <a:extLst>
              <a:ext uri="{FF2B5EF4-FFF2-40B4-BE49-F238E27FC236}">
                <a16:creationId xmlns:a16="http://schemas.microsoft.com/office/drawing/2014/main" id="{8D129BD8-D1BC-48CC-A5D2-541555A385FB}"/>
              </a:ext>
            </a:extLst>
          </p:cNvPr>
          <p:cNvGrpSpPr/>
          <p:nvPr/>
        </p:nvGrpSpPr>
        <p:grpSpPr>
          <a:xfrm>
            <a:off x="10605482" y="1947137"/>
            <a:ext cx="828974" cy="1426094"/>
            <a:chOff x="10321152" y="1813787"/>
            <a:chExt cx="828974" cy="1426094"/>
          </a:xfrm>
        </p:grpSpPr>
        <p:pic>
          <p:nvPicPr>
            <p:cNvPr id="1034" name="Picture 10">
              <a:extLst>
                <a:ext uri="{FF2B5EF4-FFF2-40B4-BE49-F238E27FC236}">
                  <a16:creationId xmlns:a16="http://schemas.microsoft.com/office/drawing/2014/main" id="{221FCB7B-80B5-4BB4-BF61-948568F81E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21152" y="1813787"/>
              <a:ext cx="828974" cy="828974"/>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B2E32E9F-2FBE-4FD0-BA92-9AD005B0BEB0}"/>
                </a:ext>
              </a:extLst>
            </p:cNvPr>
            <p:cNvSpPr txBox="1"/>
            <p:nvPr/>
          </p:nvSpPr>
          <p:spPr>
            <a:xfrm>
              <a:off x="10409480" y="2962882"/>
              <a:ext cx="652319" cy="276999"/>
            </a:xfrm>
            <a:prstGeom prst="rect">
              <a:avLst/>
            </a:prstGeom>
            <a:noFill/>
          </p:spPr>
          <p:txBody>
            <a:bodyPr wrap="square" lIns="0" tIns="0" rIns="0" bIns="0" rtlCol="0">
              <a:spAutoFit/>
            </a:bodyPr>
            <a:lstStyle/>
            <a:p>
              <a:pPr>
                <a:spcBef>
                  <a:spcPts val="600"/>
                </a:spcBef>
                <a:buSzPct val="100000"/>
              </a:pPr>
              <a:r>
                <a:rPr lang="fr-FR" dirty="0">
                  <a:solidFill>
                    <a:srgbClr val="313131"/>
                  </a:solidFill>
                </a:rPr>
                <a:t>Coûts</a:t>
              </a:r>
            </a:p>
          </p:txBody>
        </p:sp>
      </p:grpSp>
      <p:pic>
        <p:nvPicPr>
          <p:cNvPr id="1038" name="Picture 14">
            <a:extLst>
              <a:ext uri="{FF2B5EF4-FFF2-40B4-BE49-F238E27FC236}">
                <a16:creationId xmlns:a16="http://schemas.microsoft.com/office/drawing/2014/main" id="{8440E3C6-20EC-4C52-97FE-92FE99E015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47728" y="4382757"/>
            <a:ext cx="828974" cy="82897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EA058783-AEDF-4654-887D-A3C2E70A77B9}"/>
              </a:ext>
            </a:extLst>
          </p:cNvPr>
          <p:cNvSpPr txBox="1"/>
          <p:nvPr/>
        </p:nvSpPr>
        <p:spPr>
          <a:xfrm>
            <a:off x="8030068" y="5413969"/>
            <a:ext cx="1464295" cy="276999"/>
          </a:xfrm>
          <a:prstGeom prst="rect">
            <a:avLst/>
          </a:prstGeom>
          <a:noFill/>
        </p:spPr>
        <p:txBody>
          <a:bodyPr wrap="square" lIns="0" tIns="0" rIns="0" bIns="0" rtlCol="0">
            <a:spAutoFit/>
          </a:bodyPr>
          <a:lstStyle/>
          <a:p>
            <a:pPr>
              <a:spcBef>
                <a:spcPts val="600"/>
              </a:spcBef>
              <a:buSzPct val="100000"/>
            </a:pPr>
            <a:r>
              <a:rPr lang="fr-FR" dirty="0">
                <a:solidFill>
                  <a:srgbClr val="313131"/>
                </a:solidFill>
              </a:rPr>
              <a:t>Automatisation</a:t>
            </a:r>
          </a:p>
        </p:txBody>
      </p:sp>
      <p:pic>
        <p:nvPicPr>
          <p:cNvPr id="1040" name="Picture 16">
            <a:extLst>
              <a:ext uri="{FF2B5EF4-FFF2-40B4-BE49-F238E27FC236}">
                <a16:creationId xmlns:a16="http://schemas.microsoft.com/office/drawing/2014/main" id="{78DE4DA2-2FCC-42C2-89DD-2BDE85AFF32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605482" y="4382757"/>
            <a:ext cx="828975" cy="828975"/>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4928828E-CB53-46AB-9661-B3F630CF1337}"/>
              </a:ext>
            </a:extLst>
          </p:cNvPr>
          <p:cNvSpPr txBox="1"/>
          <p:nvPr/>
        </p:nvSpPr>
        <p:spPr>
          <a:xfrm>
            <a:off x="10553380" y="5413969"/>
            <a:ext cx="933178" cy="276999"/>
          </a:xfrm>
          <a:prstGeom prst="rect">
            <a:avLst/>
          </a:prstGeom>
          <a:noFill/>
        </p:spPr>
        <p:txBody>
          <a:bodyPr wrap="square" lIns="0" tIns="0" rIns="0" bIns="0" rtlCol="0">
            <a:spAutoFit/>
          </a:bodyPr>
          <a:lstStyle/>
          <a:p>
            <a:pPr>
              <a:spcBef>
                <a:spcPts val="600"/>
              </a:spcBef>
              <a:buSzPct val="100000"/>
            </a:pPr>
            <a:r>
              <a:rPr lang="fr-FR" dirty="0">
                <a:solidFill>
                  <a:srgbClr val="313131"/>
                </a:solidFill>
              </a:rPr>
              <a:t>Efficacité</a:t>
            </a:r>
          </a:p>
        </p:txBody>
      </p:sp>
      <p:sp>
        <p:nvSpPr>
          <p:cNvPr id="34" name="ZoneTexte 128">
            <a:extLst>
              <a:ext uri="{FF2B5EF4-FFF2-40B4-BE49-F238E27FC236}">
                <a16:creationId xmlns:a16="http://schemas.microsoft.com/office/drawing/2014/main" id="{263DBE61-067C-4313-A90F-0C5BC1374E7F}"/>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dirty="0">
                <a:solidFill>
                  <a:srgbClr val="313131"/>
                </a:solidFill>
              </a:rPr>
              <a:t>Phase 1</a:t>
            </a:r>
          </a:p>
          <a:p>
            <a:pPr marL="342900" indent="-342900">
              <a:lnSpc>
                <a:spcPct val="250000"/>
              </a:lnSpc>
              <a:spcBef>
                <a:spcPts val="600"/>
              </a:spcBef>
              <a:buSzPct val="100000"/>
              <a:buFont typeface="+mj-lt"/>
              <a:buAutoNum type="arabicPeriod"/>
            </a:pPr>
            <a:r>
              <a:rPr lang="fr-FR" sz="1100" dirty="0">
                <a:solidFill>
                  <a:srgbClr val="313131"/>
                </a:solidFill>
              </a:rPr>
              <a:t>Phase 2</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sp>
        <p:nvSpPr>
          <p:cNvPr id="35" name="Rectangle 34">
            <a:extLst>
              <a:ext uri="{FF2B5EF4-FFF2-40B4-BE49-F238E27FC236}">
                <a16:creationId xmlns:a16="http://schemas.microsoft.com/office/drawing/2014/main" id="{62495127-5424-4DB6-BD28-538F33F66B6E}"/>
              </a:ext>
            </a:extLst>
          </p:cNvPr>
          <p:cNvSpPr/>
          <p:nvPr/>
        </p:nvSpPr>
        <p:spPr bwMode="gray">
          <a:xfrm rot="16200000">
            <a:off x="1516542" y="4851570"/>
            <a:ext cx="1984632" cy="384153"/>
          </a:xfrm>
          <a:prstGeom prst="rect">
            <a:avLst/>
          </a:prstGeom>
          <a:ln>
            <a:solidFill>
              <a:schemeClr val="accent1"/>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fr-FR" sz="1600" b="1" dirty="0">
                <a:solidFill>
                  <a:schemeClr val="accent1"/>
                </a:solidFill>
              </a:rPr>
              <a:t>Avantages</a:t>
            </a:r>
          </a:p>
        </p:txBody>
      </p:sp>
      <p:sp>
        <p:nvSpPr>
          <p:cNvPr id="36" name="Rectangle 35">
            <a:extLst>
              <a:ext uri="{FF2B5EF4-FFF2-40B4-BE49-F238E27FC236}">
                <a16:creationId xmlns:a16="http://schemas.microsoft.com/office/drawing/2014/main" id="{C209E0A3-25DB-441E-8704-6978353FFB95}"/>
              </a:ext>
            </a:extLst>
          </p:cNvPr>
          <p:cNvSpPr/>
          <p:nvPr/>
        </p:nvSpPr>
        <p:spPr bwMode="gray">
          <a:xfrm rot="16200000">
            <a:off x="1516542" y="2427022"/>
            <a:ext cx="1984632" cy="384153"/>
          </a:xfrm>
          <a:prstGeom prst="rect">
            <a:avLst/>
          </a:prstGeom>
          <a:ln>
            <a:solidFill>
              <a:srgbClr val="C0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fr-FR" sz="1600" b="1" dirty="0">
                <a:solidFill>
                  <a:srgbClr val="C00000"/>
                </a:solidFill>
              </a:rPr>
              <a:t>Difficultés</a:t>
            </a:r>
          </a:p>
        </p:txBody>
      </p:sp>
      <p:pic>
        <p:nvPicPr>
          <p:cNvPr id="1044" name="Picture 20">
            <a:extLst>
              <a:ext uri="{FF2B5EF4-FFF2-40B4-BE49-F238E27FC236}">
                <a16:creationId xmlns:a16="http://schemas.microsoft.com/office/drawing/2014/main" id="{6BFEDD85-F389-4CAE-8F51-592043887D6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94478" y="4382757"/>
            <a:ext cx="828975" cy="828975"/>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A96E3EA7-9FAB-41E0-BA3F-2F729AF395F7}"/>
              </a:ext>
            </a:extLst>
          </p:cNvPr>
          <p:cNvSpPr txBox="1"/>
          <p:nvPr/>
        </p:nvSpPr>
        <p:spPr>
          <a:xfrm>
            <a:off x="3284719" y="5413969"/>
            <a:ext cx="1048493" cy="276999"/>
          </a:xfrm>
          <a:prstGeom prst="rect">
            <a:avLst/>
          </a:prstGeom>
          <a:noFill/>
        </p:spPr>
        <p:txBody>
          <a:bodyPr wrap="square" lIns="0" tIns="0" rIns="0" bIns="0" rtlCol="0">
            <a:spAutoFit/>
          </a:bodyPr>
          <a:lstStyle/>
          <a:p>
            <a:pPr>
              <a:spcBef>
                <a:spcPts val="600"/>
              </a:spcBef>
              <a:buSzPct val="100000"/>
            </a:pPr>
            <a:r>
              <a:rPr lang="fr-FR" dirty="0">
                <a:solidFill>
                  <a:srgbClr val="313131"/>
                </a:solidFill>
              </a:rPr>
              <a:t>Protection</a:t>
            </a:r>
          </a:p>
        </p:txBody>
      </p:sp>
      <p:pic>
        <p:nvPicPr>
          <p:cNvPr id="1046" name="Picture 22">
            <a:extLst>
              <a:ext uri="{FF2B5EF4-FFF2-40B4-BE49-F238E27FC236}">
                <a16:creationId xmlns:a16="http://schemas.microsoft.com/office/drawing/2014/main" id="{11AF7AFC-8A4D-4A22-B4E7-2BDF685CBB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53951" y="4382756"/>
            <a:ext cx="828976" cy="828976"/>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64703A3C-8949-4F8B-86D0-0A1EA91CE4C2}"/>
              </a:ext>
            </a:extLst>
          </p:cNvPr>
          <p:cNvSpPr txBox="1"/>
          <p:nvPr/>
        </p:nvSpPr>
        <p:spPr>
          <a:xfrm>
            <a:off x="5699270" y="5413969"/>
            <a:ext cx="1464295" cy="276999"/>
          </a:xfrm>
          <a:prstGeom prst="rect">
            <a:avLst/>
          </a:prstGeom>
          <a:noFill/>
        </p:spPr>
        <p:txBody>
          <a:bodyPr wrap="square" lIns="0" tIns="0" rIns="0" bIns="0" rtlCol="0">
            <a:spAutoFit/>
          </a:bodyPr>
          <a:lstStyle/>
          <a:p>
            <a:pPr>
              <a:spcBef>
                <a:spcPts val="600"/>
              </a:spcBef>
              <a:buSzPct val="100000"/>
            </a:pPr>
            <a:r>
              <a:rPr lang="fr-FR" dirty="0">
                <a:solidFill>
                  <a:srgbClr val="313131"/>
                </a:solidFill>
              </a:rPr>
              <a:t>Documentation</a:t>
            </a:r>
          </a:p>
        </p:txBody>
      </p:sp>
      <p:pic>
        <p:nvPicPr>
          <p:cNvPr id="33" name="Picture 2" descr="Eléments graphiques | INSA Lyon">
            <a:extLst>
              <a:ext uri="{FF2B5EF4-FFF2-40B4-BE49-F238E27FC236}">
                <a16:creationId xmlns:a16="http://schemas.microsoft.com/office/drawing/2014/main" id="{EF43F825-4CDD-44D5-9749-57B8C8C9EF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57798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BB7A15-9137-42B6-966C-4DFCC24514E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3" name="Text Placeholder 6">
            <a:extLst>
              <a:ext uri="{FF2B5EF4-FFF2-40B4-BE49-F238E27FC236}">
                <a16:creationId xmlns:a16="http://schemas.microsoft.com/office/drawing/2014/main" id="{828C7B52-E9D1-4A24-B397-C76995C2781F}"/>
              </a:ext>
            </a:extLst>
          </p:cNvPr>
          <p:cNvSpPr txBox="1">
            <a:spLocks/>
          </p:cNvSpPr>
          <p:nvPr/>
        </p:nvSpPr>
        <p:spPr>
          <a:xfrm>
            <a:off x="350982" y="3344276"/>
            <a:ext cx="4682836" cy="590996"/>
          </a:xfrm>
          <a:prstGeom prst="rect">
            <a:avLst/>
          </a:prstGeom>
        </p:spPr>
        <p:txBody>
          <a:bodyPr wrap="square">
            <a:spAutoFit/>
          </a:bodyPr>
          <a:lstStyle>
            <a:lvl1pPr marL="0" indent="0" algn="l" defTabSz="1069215" rtl="0" eaLnBrk="1" latinLnBrk="0" hangingPunct="1">
              <a:lnSpc>
                <a:spcPts val="4340"/>
              </a:lnSpc>
              <a:spcBef>
                <a:spcPts val="0"/>
              </a:spcBef>
              <a:spcAft>
                <a:spcPts val="1169"/>
              </a:spcAft>
              <a:buSzPct val="100000"/>
              <a:buFontTx/>
              <a:buNone/>
              <a:defRPr sz="3200" b="0" i="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1069215" rtl="0" eaLnBrk="1" latinLnBrk="0" hangingPunct="1">
              <a:spcBef>
                <a:spcPts val="0"/>
              </a:spcBef>
              <a:spcAft>
                <a:spcPts val="1169"/>
              </a:spcAft>
              <a:buClrTx/>
              <a:buSzPct val="100000"/>
              <a:buFontTx/>
              <a:buNone/>
              <a:defRPr lang="en-US" sz="1270" b="1" kern="1200">
                <a:solidFill>
                  <a:schemeClr val="tx1"/>
                </a:solidFill>
                <a:latin typeface="+mj-lt"/>
                <a:ea typeface="+mn-ea"/>
                <a:cs typeface="Calibri Light" panose="020F0302020204030204" pitchFamily="34" charset="0"/>
              </a:defRPr>
            </a:lvl2pPr>
            <a:lvl3pPr marL="914400" indent="0" algn="l" defTabSz="1069215" rtl="0" eaLnBrk="1" latinLnBrk="0" hangingPunct="1">
              <a:spcBef>
                <a:spcPts val="0"/>
              </a:spcBef>
              <a:spcAft>
                <a:spcPts val="1169"/>
              </a:spcAft>
              <a:buClrTx/>
              <a:buSzPct val="100000"/>
              <a:buFontTx/>
              <a:buNone/>
              <a:defRPr lang="en-US" sz="1270" kern="1200">
                <a:solidFill>
                  <a:schemeClr val="tx1"/>
                </a:solidFill>
                <a:latin typeface="+mn-lt"/>
                <a:ea typeface="+mn-ea"/>
                <a:cs typeface="Calibri Light" panose="020F0302020204030204" pitchFamily="34" charset="0"/>
              </a:defRPr>
            </a:lvl3pPr>
            <a:lvl4pPr marL="1371600" indent="0" algn="l" defTabSz="1069215" rtl="0" eaLnBrk="1" latinLnBrk="0" hangingPunct="1">
              <a:spcBef>
                <a:spcPts val="0"/>
              </a:spcBef>
              <a:spcAft>
                <a:spcPts val="1169"/>
              </a:spcAft>
              <a:buClrTx/>
              <a:buSzPct val="100000"/>
              <a:buFontTx/>
              <a:buNone/>
              <a:defRPr lang="en-US" sz="1270" kern="1200" baseline="0">
                <a:solidFill>
                  <a:schemeClr val="tx1"/>
                </a:solidFill>
                <a:latin typeface="+mn-lt"/>
                <a:ea typeface="+mn-ea"/>
                <a:cs typeface="Calibri Light" panose="020F0302020204030204" pitchFamily="34" charset="0"/>
              </a:defRPr>
            </a:lvl4pPr>
            <a:lvl5pPr marL="1828800" indent="0" algn="l" defTabSz="933707" rtl="0" eaLnBrk="1" latinLnBrk="0" hangingPunct="1">
              <a:spcBef>
                <a:spcPts val="0"/>
              </a:spcBef>
              <a:spcAft>
                <a:spcPts val="1169"/>
              </a:spcAft>
              <a:buClrTx/>
              <a:buSzPct val="100000"/>
              <a:buFontTx/>
              <a:buNone/>
              <a:tabLst/>
              <a:defRPr lang="en-US" sz="1270" kern="1200" baseline="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r>
              <a:rPr lang="en-US" b="1" dirty="0">
                <a:latin typeface="Verdana" panose="020B0604030504040204" pitchFamily="34" charset="0"/>
                <a:ea typeface="Verdana" panose="020B0604030504040204" pitchFamily="34" charset="0"/>
              </a:rPr>
              <a:t>06 - Conclusion</a:t>
            </a:r>
          </a:p>
        </p:txBody>
      </p:sp>
    </p:spTree>
    <p:extLst>
      <p:ext uri="{BB962C8B-B14F-4D97-AF65-F5344CB8AC3E}">
        <p14:creationId xmlns:p14="http://schemas.microsoft.com/office/powerpoint/2010/main" val="3927581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A885E-F7BD-4F63-9670-8F520D3B2434}"/>
              </a:ext>
            </a:extLst>
          </p:cNvPr>
          <p:cNvSpPr>
            <a:spLocks noGrp="1"/>
          </p:cNvSpPr>
          <p:nvPr>
            <p:ph type="title"/>
          </p:nvPr>
        </p:nvSpPr>
        <p:spPr/>
        <p:txBody>
          <a:bodyPr/>
          <a:lstStyle/>
          <a:p>
            <a:r>
              <a:rPr lang="fr-FR" sz="2800" b="1" dirty="0">
                <a:solidFill>
                  <a:schemeClr val="accent1"/>
                </a:solidFill>
              </a:rPr>
              <a:t>Agenda</a:t>
            </a:r>
          </a:p>
        </p:txBody>
      </p:sp>
      <p:grpSp>
        <p:nvGrpSpPr>
          <p:cNvPr id="4" name="Groupe 26">
            <a:extLst>
              <a:ext uri="{FF2B5EF4-FFF2-40B4-BE49-F238E27FC236}">
                <a16:creationId xmlns:a16="http://schemas.microsoft.com/office/drawing/2014/main" id="{1F82E7BD-E37C-4C07-B9E0-869FA0F20767}"/>
              </a:ext>
            </a:extLst>
          </p:cNvPr>
          <p:cNvGrpSpPr/>
          <p:nvPr/>
        </p:nvGrpSpPr>
        <p:grpSpPr>
          <a:xfrm>
            <a:off x="1498790" y="1335597"/>
            <a:ext cx="9346821" cy="4186807"/>
            <a:chOff x="2576572" y="1504039"/>
            <a:chExt cx="9346821" cy="4186807"/>
          </a:xfrm>
        </p:grpSpPr>
        <p:sp>
          <p:nvSpPr>
            <p:cNvPr id="5" name="object 3">
              <a:extLst>
                <a:ext uri="{FF2B5EF4-FFF2-40B4-BE49-F238E27FC236}">
                  <a16:creationId xmlns:a16="http://schemas.microsoft.com/office/drawing/2014/main" id="{73C13F6E-85CC-454C-97C7-DDA1A8263E4E}"/>
                </a:ext>
              </a:extLst>
            </p:cNvPr>
            <p:cNvSpPr txBox="1"/>
            <p:nvPr/>
          </p:nvSpPr>
          <p:spPr>
            <a:xfrm>
              <a:off x="4179726" y="2107680"/>
              <a:ext cx="2315500" cy="354166"/>
            </a:xfrm>
            <a:prstGeom prst="rect">
              <a:avLst/>
            </a:prstGeom>
          </p:spPr>
          <p:txBody>
            <a:bodyPr vert="horz" wrap="square" lIns="0" tIns="14699" rIns="0" bIns="0" rtlCol="0">
              <a:spAutoFit/>
            </a:bodyPr>
            <a:lstStyle/>
            <a:p>
              <a:pPr marL="13999">
                <a:spcBef>
                  <a:spcPts val="116"/>
                </a:spcBef>
              </a:pPr>
              <a:r>
                <a:rPr lang="fr-FR" sz="2205" b="1" dirty="0">
                  <a:solidFill>
                    <a:schemeClr val="accent1">
                      <a:lumMod val="60000"/>
                      <a:lumOff val="40000"/>
                    </a:schemeClr>
                  </a:solidFill>
                  <a:latin typeface="Verdana" panose="020B0604030504040204" pitchFamily="34" charset="0"/>
                  <a:ea typeface="Verdana" panose="020B0604030504040204" pitchFamily="34" charset="0"/>
                  <a:cs typeface="Calibri"/>
                </a:rPr>
                <a:t>Entreprise</a:t>
              </a:r>
              <a:endParaRPr lang="fr-FR" sz="2205" dirty="0">
                <a:solidFill>
                  <a:schemeClr val="accent1">
                    <a:lumMod val="60000"/>
                    <a:lumOff val="40000"/>
                  </a:schemeClr>
                </a:solidFill>
                <a:latin typeface="Verdana" panose="020B0604030504040204" pitchFamily="34" charset="0"/>
                <a:ea typeface="Verdana" panose="020B0604030504040204" pitchFamily="34" charset="0"/>
                <a:cs typeface="Calibri"/>
              </a:endParaRPr>
            </a:p>
          </p:txBody>
        </p:sp>
        <p:sp>
          <p:nvSpPr>
            <p:cNvPr id="6" name="object 4">
              <a:extLst>
                <a:ext uri="{FF2B5EF4-FFF2-40B4-BE49-F238E27FC236}">
                  <a16:creationId xmlns:a16="http://schemas.microsoft.com/office/drawing/2014/main" id="{9341B43E-060E-40E5-AE9C-F9C9CCC27500}"/>
                </a:ext>
              </a:extLst>
            </p:cNvPr>
            <p:cNvSpPr txBox="1"/>
            <p:nvPr/>
          </p:nvSpPr>
          <p:spPr>
            <a:xfrm>
              <a:off x="2585183" y="1504039"/>
              <a:ext cx="1278845" cy="1275698"/>
            </a:xfrm>
            <a:prstGeom prst="rect">
              <a:avLst/>
            </a:prstGeom>
          </p:spPr>
          <p:txBody>
            <a:bodyPr vert="horz" wrap="square" lIns="0" tIns="13299" rIns="0" bIns="0" rtlCol="0">
              <a:spAutoFit/>
            </a:bodyPr>
            <a:lstStyle/>
            <a:p>
              <a:pPr marL="13999" algn="ctr">
                <a:lnSpc>
                  <a:spcPts val="11321"/>
                </a:lnSpc>
                <a:spcBef>
                  <a:spcPts val="105"/>
                </a:spcBef>
              </a:pPr>
              <a:r>
                <a:rPr lang="fr-FR" sz="6600" dirty="0">
                  <a:solidFill>
                    <a:schemeClr val="accent1">
                      <a:lumMod val="60000"/>
                      <a:lumOff val="40000"/>
                    </a:schemeClr>
                  </a:solidFill>
                  <a:latin typeface="Verdana" panose="020B0604030504040204" pitchFamily="34" charset="0"/>
                  <a:ea typeface="Verdana" panose="020B0604030504040204" pitchFamily="34" charset="0"/>
                  <a:cs typeface="Calibri"/>
                </a:rPr>
                <a:t>0</a:t>
              </a:r>
              <a:r>
                <a:rPr sz="6600" dirty="0">
                  <a:solidFill>
                    <a:schemeClr val="accent1">
                      <a:lumMod val="60000"/>
                      <a:lumOff val="40000"/>
                    </a:schemeClr>
                  </a:solidFill>
                  <a:latin typeface="Verdana" panose="020B0604030504040204" pitchFamily="34" charset="0"/>
                  <a:ea typeface="Verdana" panose="020B0604030504040204" pitchFamily="34" charset="0"/>
                  <a:cs typeface="Calibri"/>
                </a:rPr>
                <a:t>1</a:t>
              </a:r>
            </a:p>
          </p:txBody>
        </p:sp>
        <p:sp>
          <p:nvSpPr>
            <p:cNvPr id="7" name="object 5">
              <a:extLst>
                <a:ext uri="{FF2B5EF4-FFF2-40B4-BE49-F238E27FC236}">
                  <a16:creationId xmlns:a16="http://schemas.microsoft.com/office/drawing/2014/main" id="{67BA30C7-9169-40F8-AD00-19F210726D57}"/>
                </a:ext>
              </a:extLst>
            </p:cNvPr>
            <p:cNvSpPr txBox="1"/>
            <p:nvPr/>
          </p:nvSpPr>
          <p:spPr>
            <a:xfrm>
              <a:off x="8980720" y="1952506"/>
              <a:ext cx="2942673" cy="693490"/>
            </a:xfrm>
            <a:prstGeom prst="rect">
              <a:avLst/>
            </a:prstGeom>
          </p:spPr>
          <p:txBody>
            <a:bodyPr vert="horz" wrap="square" lIns="0" tIns="14699" rIns="0" bIns="0" rtlCol="0">
              <a:spAutoFit/>
            </a:bodyPr>
            <a:lstStyle/>
            <a:p>
              <a:pPr marL="13999" marR="5600">
                <a:spcBef>
                  <a:spcPts val="116"/>
                </a:spcBef>
              </a:pPr>
              <a:r>
                <a:rPr lang="fr-FR" sz="2205" b="1" spc="-11" dirty="0">
                  <a:solidFill>
                    <a:schemeClr val="accent1">
                      <a:lumMod val="75000"/>
                    </a:schemeClr>
                  </a:solidFill>
                  <a:latin typeface="Verdana" panose="020B0604030504040204" pitchFamily="34" charset="0"/>
                  <a:ea typeface="Verdana" panose="020B0604030504040204" pitchFamily="34" charset="0"/>
                  <a:cs typeface="Calibri"/>
                </a:rPr>
                <a:t>Mission client: Phase 2</a:t>
              </a:r>
              <a:endParaRPr sz="2205" dirty="0">
                <a:solidFill>
                  <a:schemeClr val="accent1">
                    <a:lumMod val="75000"/>
                  </a:schemeClr>
                </a:solidFill>
                <a:latin typeface="Verdana" panose="020B0604030504040204" pitchFamily="34" charset="0"/>
                <a:ea typeface="Verdana" panose="020B0604030504040204" pitchFamily="34" charset="0"/>
                <a:cs typeface="Calibri"/>
              </a:endParaRPr>
            </a:p>
          </p:txBody>
        </p:sp>
        <p:sp>
          <p:nvSpPr>
            <p:cNvPr id="8" name="object 6">
              <a:extLst>
                <a:ext uri="{FF2B5EF4-FFF2-40B4-BE49-F238E27FC236}">
                  <a16:creationId xmlns:a16="http://schemas.microsoft.com/office/drawing/2014/main" id="{F44ABE32-5124-47F7-A0EC-33BF5CE05C51}"/>
                </a:ext>
              </a:extLst>
            </p:cNvPr>
            <p:cNvSpPr txBox="1"/>
            <p:nvPr/>
          </p:nvSpPr>
          <p:spPr>
            <a:xfrm>
              <a:off x="7209345" y="1504039"/>
              <a:ext cx="1353742" cy="1323724"/>
            </a:xfrm>
            <a:prstGeom prst="rect">
              <a:avLst/>
            </a:prstGeom>
          </p:spPr>
          <p:txBody>
            <a:bodyPr vert="horz" wrap="square" lIns="0" tIns="13299" rIns="0" bIns="0" rtlCol="0">
              <a:spAutoFit/>
            </a:bodyPr>
            <a:lstStyle/>
            <a:p>
              <a:pPr marL="13999" algn="ctr">
                <a:lnSpc>
                  <a:spcPts val="11321"/>
                </a:lnSpc>
                <a:spcBef>
                  <a:spcPts val="105"/>
                </a:spcBef>
              </a:pPr>
              <a:r>
                <a:rPr sz="6600" dirty="0">
                  <a:solidFill>
                    <a:schemeClr val="accent1">
                      <a:lumMod val="75000"/>
                    </a:schemeClr>
                  </a:solidFill>
                  <a:latin typeface="Verdana" panose="020B0604030504040204" pitchFamily="34" charset="0"/>
                  <a:ea typeface="Verdana" panose="020B0604030504040204" pitchFamily="34" charset="0"/>
                  <a:cs typeface="Calibri"/>
                </a:rPr>
                <a:t>0</a:t>
              </a:r>
              <a:r>
                <a:rPr lang="fr-FR" sz="6600" dirty="0">
                  <a:solidFill>
                    <a:schemeClr val="accent1">
                      <a:lumMod val="75000"/>
                    </a:schemeClr>
                  </a:solidFill>
                  <a:latin typeface="Verdana" panose="020B0604030504040204" pitchFamily="34" charset="0"/>
                  <a:ea typeface="Verdana" panose="020B0604030504040204" pitchFamily="34" charset="0"/>
                  <a:cs typeface="Calibri"/>
                </a:rPr>
                <a:t>4</a:t>
              </a:r>
              <a:endParaRPr sz="6600" dirty="0">
                <a:solidFill>
                  <a:schemeClr val="accent1">
                    <a:lumMod val="75000"/>
                  </a:schemeClr>
                </a:solidFill>
                <a:latin typeface="Verdana" panose="020B0604030504040204" pitchFamily="34" charset="0"/>
                <a:ea typeface="Verdana" panose="020B0604030504040204" pitchFamily="34" charset="0"/>
                <a:cs typeface="Calibri"/>
              </a:endParaRPr>
            </a:p>
          </p:txBody>
        </p:sp>
        <p:sp>
          <p:nvSpPr>
            <p:cNvPr id="9" name="object 7">
              <a:extLst>
                <a:ext uri="{FF2B5EF4-FFF2-40B4-BE49-F238E27FC236}">
                  <a16:creationId xmlns:a16="http://schemas.microsoft.com/office/drawing/2014/main" id="{F180A11A-8AE0-45FD-A0BF-229690A3B1BA}"/>
                </a:ext>
              </a:extLst>
            </p:cNvPr>
            <p:cNvSpPr txBox="1"/>
            <p:nvPr/>
          </p:nvSpPr>
          <p:spPr>
            <a:xfrm>
              <a:off x="4179726" y="3488166"/>
              <a:ext cx="2139108" cy="354166"/>
            </a:xfrm>
            <a:prstGeom prst="rect">
              <a:avLst/>
            </a:prstGeom>
          </p:spPr>
          <p:txBody>
            <a:bodyPr vert="horz" wrap="square" lIns="0" tIns="14699" rIns="0" bIns="0" rtlCol="0">
              <a:spAutoFit/>
            </a:bodyPr>
            <a:lstStyle/>
            <a:p>
              <a:pPr marL="13999">
                <a:spcBef>
                  <a:spcPts val="116"/>
                </a:spcBef>
              </a:pPr>
              <a:r>
                <a:rPr lang="fr-FR" sz="2205" b="1" spc="-11" dirty="0">
                  <a:solidFill>
                    <a:schemeClr val="accent2">
                      <a:lumMod val="60000"/>
                      <a:lumOff val="40000"/>
                    </a:schemeClr>
                  </a:solidFill>
                  <a:latin typeface="Verdana" panose="020B0604030504040204" pitchFamily="34" charset="0"/>
                  <a:ea typeface="Verdana" panose="020B0604030504040204" pitchFamily="34" charset="0"/>
                  <a:cs typeface="Calibri"/>
                </a:rPr>
                <a:t>Contexte</a:t>
              </a:r>
              <a:endParaRPr sz="2205" dirty="0">
                <a:solidFill>
                  <a:schemeClr val="accent2">
                    <a:lumMod val="60000"/>
                    <a:lumOff val="40000"/>
                  </a:schemeClr>
                </a:solidFill>
                <a:latin typeface="Verdana" panose="020B0604030504040204" pitchFamily="34" charset="0"/>
                <a:ea typeface="Verdana" panose="020B0604030504040204" pitchFamily="34" charset="0"/>
                <a:cs typeface="Calibri"/>
              </a:endParaRPr>
            </a:p>
          </p:txBody>
        </p:sp>
        <p:sp>
          <p:nvSpPr>
            <p:cNvPr id="10" name="object 8">
              <a:extLst>
                <a:ext uri="{FF2B5EF4-FFF2-40B4-BE49-F238E27FC236}">
                  <a16:creationId xmlns:a16="http://schemas.microsoft.com/office/drawing/2014/main" id="{E92039E0-C827-4EBD-968D-BA52507B6ACC}"/>
                </a:ext>
              </a:extLst>
            </p:cNvPr>
            <p:cNvSpPr txBox="1"/>
            <p:nvPr/>
          </p:nvSpPr>
          <p:spPr>
            <a:xfrm>
              <a:off x="4179726" y="4757867"/>
              <a:ext cx="2402275" cy="692783"/>
            </a:xfrm>
            <a:prstGeom prst="rect">
              <a:avLst/>
            </a:prstGeom>
          </p:spPr>
          <p:txBody>
            <a:bodyPr vert="horz" wrap="square" lIns="0" tIns="13999" rIns="0" bIns="0" rtlCol="0">
              <a:spAutoFit/>
            </a:bodyPr>
            <a:lstStyle/>
            <a:p>
              <a:pPr marL="13999" marR="5600">
                <a:spcBef>
                  <a:spcPts val="116"/>
                </a:spcBef>
              </a:pPr>
              <a:r>
                <a:rPr lang="fr-FR" sz="2205" b="1" spc="-6" dirty="0">
                  <a:solidFill>
                    <a:schemeClr val="accent3">
                      <a:lumMod val="60000"/>
                      <a:lumOff val="40000"/>
                    </a:schemeClr>
                  </a:solidFill>
                  <a:latin typeface="Verdana" panose="020B0604030504040204" pitchFamily="34" charset="0"/>
                  <a:ea typeface="Verdana" panose="020B0604030504040204" pitchFamily="34" charset="0"/>
                  <a:cs typeface="Calibri"/>
                </a:rPr>
                <a:t>Mission client: Phase 1</a:t>
              </a:r>
              <a:endParaRPr lang="fr-FR" sz="2205" dirty="0">
                <a:solidFill>
                  <a:schemeClr val="accent3">
                    <a:lumMod val="60000"/>
                    <a:lumOff val="40000"/>
                  </a:schemeClr>
                </a:solidFill>
                <a:latin typeface="Verdana" panose="020B0604030504040204" pitchFamily="34" charset="0"/>
                <a:ea typeface="Verdana" panose="020B0604030504040204" pitchFamily="34" charset="0"/>
                <a:cs typeface="Calibri"/>
              </a:endParaRPr>
            </a:p>
          </p:txBody>
        </p:sp>
        <p:sp>
          <p:nvSpPr>
            <p:cNvPr id="11" name="object 10">
              <a:extLst>
                <a:ext uri="{FF2B5EF4-FFF2-40B4-BE49-F238E27FC236}">
                  <a16:creationId xmlns:a16="http://schemas.microsoft.com/office/drawing/2014/main" id="{B7754C7B-2D39-40B6-93AE-9DBA79D67FF6}"/>
                </a:ext>
              </a:extLst>
            </p:cNvPr>
            <p:cNvSpPr txBox="1"/>
            <p:nvPr/>
          </p:nvSpPr>
          <p:spPr>
            <a:xfrm>
              <a:off x="8980720" y="4986467"/>
              <a:ext cx="1873838" cy="353459"/>
            </a:xfrm>
            <a:prstGeom prst="rect">
              <a:avLst/>
            </a:prstGeom>
          </p:spPr>
          <p:txBody>
            <a:bodyPr vert="horz" wrap="square" lIns="0" tIns="13999" rIns="0" bIns="0" rtlCol="0">
              <a:spAutoFit/>
            </a:bodyPr>
            <a:lstStyle/>
            <a:p>
              <a:pPr marL="13999" marR="5600">
                <a:spcBef>
                  <a:spcPts val="110"/>
                </a:spcBef>
              </a:pPr>
              <a:r>
                <a:rPr lang="fr-FR" sz="2205" b="1" spc="-11" dirty="0">
                  <a:solidFill>
                    <a:schemeClr val="accent3">
                      <a:lumMod val="75000"/>
                    </a:schemeClr>
                  </a:solidFill>
                  <a:latin typeface="Verdana" panose="020B0604030504040204" pitchFamily="34" charset="0"/>
                  <a:ea typeface="Verdana" panose="020B0604030504040204" pitchFamily="34" charset="0"/>
                  <a:cs typeface="Calibri"/>
                </a:rPr>
                <a:t>Conclusion</a:t>
              </a:r>
              <a:endParaRPr lang="fr-FR" sz="2205" dirty="0">
                <a:solidFill>
                  <a:schemeClr val="accent3">
                    <a:lumMod val="75000"/>
                  </a:schemeClr>
                </a:solidFill>
                <a:latin typeface="Verdana" panose="020B0604030504040204" pitchFamily="34" charset="0"/>
                <a:ea typeface="Verdana" panose="020B0604030504040204" pitchFamily="34" charset="0"/>
                <a:cs typeface="Calibri"/>
              </a:endParaRPr>
            </a:p>
          </p:txBody>
        </p:sp>
        <p:sp>
          <p:nvSpPr>
            <p:cNvPr id="12" name="object 4">
              <a:extLst>
                <a:ext uri="{FF2B5EF4-FFF2-40B4-BE49-F238E27FC236}">
                  <a16:creationId xmlns:a16="http://schemas.microsoft.com/office/drawing/2014/main" id="{2C895FBB-5623-418C-9FF7-4C3153E92D2D}"/>
                </a:ext>
              </a:extLst>
            </p:cNvPr>
            <p:cNvSpPr txBox="1"/>
            <p:nvPr/>
          </p:nvSpPr>
          <p:spPr>
            <a:xfrm>
              <a:off x="2576572" y="2966038"/>
              <a:ext cx="1278845" cy="1285252"/>
            </a:xfrm>
            <a:prstGeom prst="rect">
              <a:avLst/>
            </a:prstGeom>
          </p:spPr>
          <p:txBody>
            <a:bodyPr vert="horz" wrap="square" lIns="0" tIns="13299" rIns="0" bIns="0" rtlCol="0">
              <a:spAutoFit/>
            </a:bodyPr>
            <a:lstStyle/>
            <a:p>
              <a:pPr marL="13999" algn="ctr">
                <a:lnSpc>
                  <a:spcPts val="10852"/>
                </a:lnSpc>
              </a:pPr>
              <a:r>
                <a:rPr lang="fr-FR" sz="6600" dirty="0">
                  <a:solidFill>
                    <a:schemeClr val="accent2">
                      <a:lumMod val="60000"/>
                      <a:lumOff val="40000"/>
                    </a:schemeClr>
                  </a:solidFill>
                  <a:latin typeface="Verdana" panose="020B0604030504040204" pitchFamily="34" charset="0"/>
                  <a:ea typeface="Verdana" panose="020B0604030504040204" pitchFamily="34" charset="0"/>
                  <a:cs typeface="Calibri"/>
                </a:rPr>
                <a:t>02</a:t>
              </a:r>
              <a:endParaRPr sz="6600" dirty="0">
                <a:solidFill>
                  <a:schemeClr val="accent2">
                    <a:lumMod val="60000"/>
                    <a:lumOff val="40000"/>
                  </a:schemeClr>
                </a:solidFill>
                <a:latin typeface="Verdana" panose="020B0604030504040204" pitchFamily="34" charset="0"/>
                <a:ea typeface="Verdana" panose="020B0604030504040204" pitchFamily="34" charset="0"/>
                <a:cs typeface="Calibri"/>
              </a:endParaRPr>
            </a:p>
          </p:txBody>
        </p:sp>
        <p:sp>
          <p:nvSpPr>
            <p:cNvPr id="13" name="object 4">
              <a:extLst>
                <a:ext uri="{FF2B5EF4-FFF2-40B4-BE49-F238E27FC236}">
                  <a16:creationId xmlns:a16="http://schemas.microsoft.com/office/drawing/2014/main" id="{C02834FB-14D4-47FA-9ADA-2ADBD5F13BDC}"/>
                </a:ext>
              </a:extLst>
            </p:cNvPr>
            <p:cNvSpPr txBox="1"/>
            <p:nvPr/>
          </p:nvSpPr>
          <p:spPr>
            <a:xfrm>
              <a:off x="2593794" y="4376740"/>
              <a:ext cx="1278845" cy="1314106"/>
            </a:xfrm>
            <a:prstGeom prst="rect">
              <a:avLst/>
            </a:prstGeom>
          </p:spPr>
          <p:txBody>
            <a:bodyPr vert="horz" wrap="square" lIns="0" tIns="13299" rIns="0" bIns="0" rtlCol="0">
              <a:spAutoFit/>
            </a:bodyPr>
            <a:lstStyle/>
            <a:p>
              <a:pPr marL="13999" algn="ctr">
                <a:lnSpc>
                  <a:spcPts val="11172"/>
                </a:lnSpc>
              </a:pPr>
              <a:r>
                <a:rPr sz="6600" dirty="0">
                  <a:solidFill>
                    <a:schemeClr val="accent3">
                      <a:lumMod val="60000"/>
                      <a:lumOff val="40000"/>
                    </a:schemeClr>
                  </a:solidFill>
                  <a:latin typeface="Verdana" panose="020B0604030504040204" pitchFamily="34" charset="0"/>
                  <a:ea typeface="Verdana" panose="020B0604030504040204" pitchFamily="34" charset="0"/>
                  <a:cs typeface="Calibri"/>
                </a:rPr>
                <a:t>0</a:t>
              </a:r>
              <a:r>
                <a:rPr lang="fr-FR" sz="6600" dirty="0">
                  <a:solidFill>
                    <a:schemeClr val="accent3">
                      <a:lumMod val="60000"/>
                      <a:lumOff val="40000"/>
                    </a:schemeClr>
                  </a:solidFill>
                  <a:latin typeface="Verdana" panose="020B0604030504040204" pitchFamily="34" charset="0"/>
                  <a:ea typeface="Verdana" panose="020B0604030504040204" pitchFamily="34" charset="0"/>
                  <a:cs typeface="Calibri"/>
                </a:rPr>
                <a:t>3</a:t>
              </a:r>
              <a:endParaRPr sz="6600" dirty="0">
                <a:solidFill>
                  <a:schemeClr val="accent3">
                    <a:lumMod val="60000"/>
                    <a:lumOff val="40000"/>
                  </a:schemeClr>
                </a:solidFill>
                <a:latin typeface="Verdana" panose="020B0604030504040204" pitchFamily="34" charset="0"/>
                <a:ea typeface="Verdana" panose="020B0604030504040204" pitchFamily="34" charset="0"/>
                <a:cs typeface="Calibri"/>
              </a:endParaRPr>
            </a:p>
          </p:txBody>
        </p:sp>
        <p:sp>
          <p:nvSpPr>
            <p:cNvPr id="14" name="object 6">
              <a:extLst>
                <a:ext uri="{FF2B5EF4-FFF2-40B4-BE49-F238E27FC236}">
                  <a16:creationId xmlns:a16="http://schemas.microsoft.com/office/drawing/2014/main" id="{3674A1FF-812C-43C9-AB6B-960B661464AF}"/>
                </a:ext>
              </a:extLst>
            </p:cNvPr>
            <p:cNvSpPr txBox="1"/>
            <p:nvPr/>
          </p:nvSpPr>
          <p:spPr>
            <a:xfrm>
              <a:off x="7209345" y="2959626"/>
              <a:ext cx="1353742" cy="1285252"/>
            </a:xfrm>
            <a:prstGeom prst="rect">
              <a:avLst/>
            </a:prstGeom>
          </p:spPr>
          <p:txBody>
            <a:bodyPr vert="horz" wrap="square" lIns="0" tIns="13299" rIns="0" bIns="0" rtlCol="0">
              <a:spAutoFit/>
            </a:bodyPr>
            <a:lstStyle/>
            <a:p>
              <a:pPr marL="13999" algn="ctr">
                <a:lnSpc>
                  <a:spcPts val="10946"/>
                </a:lnSpc>
              </a:pPr>
              <a:r>
                <a:rPr sz="6600" dirty="0">
                  <a:solidFill>
                    <a:schemeClr val="accent2">
                      <a:lumMod val="75000"/>
                    </a:schemeClr>
                  </a:solidFill>
                  <a:latin typeface="Verdana" panose="020B0604030504040204" pitchFamily="34" charset="0"/>
                  <a:ea typeface="Verdana" panose="020B0604030504040204" pitchFamily="34" charset="0"/>
                  <a:cs typeface="Calibri"/>
                </a:rPr>
                <a:t>0</a:t>
              </a:r>
              <a:r>
                <a:rPr lang="fr-FR" sz="6600" dirty="0">
                  <a:solidFill>
                    <a:schemeClr val="accent2">
                      <a:lumMod val="75000"/>
                    </a:schemeClr>
                  </a:solidFill>
                  <a:latin typeface="Verdana" panose="020B0604030504040204" pitchFamily="34" charset="0"/>
                  <a:ea typeface="Verdana" panose="020B0604030504040204" pitchFamily="34" charset="0"/>
                  <a:cs typeface="Calibri"/>
                </a:rPr>
                <a:t>5</a:t>
              </a:r>
              <a:endParaRPr sz="6600" dirty="0">
                <a:solidFill>
                  <a:schemeClr val="accent2">
                    <a:lumMod val="75000"/>
                  </a:schemeClr>
                </a:solidFill>
                <a:latin typeface="Verdana" panose="020B0604030504040204" pitchFamily="34" charset="0"/>
                <a:ea typeface="Verdana" panose="020B0604030504040204" pitchFamily="34" charset="0"/>
                <a:cs typeface="Calibri"/>
              </a:endParaRPr>
            </a:p>
          </p:txBody>
        </p:sp>
        <p:sp>
          <p:nvSpPr>
            <p:cNvPr id="15" name="object 6">
              <a:extLst>
                <a:ext uri="{FF2B5EF4-FFF2-40B4-BE49-F238E27FC236}">
                  <a16:creationId xmlns:a16="http://schemas.microsoft.com/office/drawing/2014/main" id="{C654245F-578B-4B2B-B65A-1B4A31804789}"/>
                </a:ext>
              </a:extLst>
            </p:cNvPr>
            <p:cNvSpPr txBox="1"/>
            <p:nvPr/>
          </p:nvSpPr>
          <p:spPr>
            <a:xfrm>
              <a:off x="7209345" y="4363916"/>
              <a:ext cx="1353742" cy="1323724"/>
            </a:xfrm>
            <a:prstGeom prst="rect">
              <a:avLst/>
            </a:prstGeom>
          </p:spPr>
          <p:txBody>
            <a:bodyPr vert="horz" wrap="square" lIns="0" tIns="13299" rIns="0" bIns="0" rtlCol="0">
              <a:spAutoFit/>
            </a:bodyPr>
            <a:lstStyle/>
            <a:p>
              <a:pPr marL="13999" algn="ctr">
                <a:lnSpc>
                  <a:spcPts val="11321"/>
                </a:lnSpc>
                <a:spcBef>
                  <a:spcPts val="105"/>
                </a:spcBef>
              </a:pPr>
              <a:r>
                <a:rPr sz="6600" spc="-6" dirty="0">
                  <a:solidFill>
                    <a:schemeClr val="accent3">
                      <a:lumMod val="75000"/>
                    </a:schemeClr>
                  </a:solidFill>
                  <a:latin typeface="Verdana" panose="020B0604030504040204" pitchFamily="34" charset="0"/>
                  <a:ea typeface="Verdana" panose="020B0604030504040204" pitchFamily="34" charset="0"/>
                  <a:cs typeface="Calibri"/>
                </a:rPr>
                <a:t>06</a:t>
              </a:r>
              <a:endParaRPr sz="6600" dirty="0">
                <a:solidFill>
                  <a:schemeClr val="accent3">
                    <a:lumMod val="75000"/>
                  </a:schemeClr>
                </a:solidFill>
                <a:latin typeface="Verdana" panose="020B0604030504040204" pitchFamily="34" charset="0"/>
                <a:ea typeface="Verdana" panose="020B0604030504040204" pitchFamily="34" charset="0"/>
                <a:cs typeface="Calibri"/>
              </a:endParaRPr>
            </a:p>
          </p:txBody>
        </p:sp>
        <p:sp>
          <p:nvSpPr>
            <p:cNvPr id="20" name="object 10">
              <a:extLst>
                <a:ext uri="{FF2B5EF4-FFF2-40B4-BE49-F238E27FC236}">
                  <a16:creationId xmlns:a16="http://schemas.microsoft.com/office/drawing/2014/main" id="{C8519FB7-4073-4B9A-BD36-7BAFA3E114C7}"/>
                </a:ext>
              </a:extLst>
            </p:cNvPr>
            <p:cNvSpPr txBox="1"/>
            <p:nvPr/>
          </p:nvSpPr>
          <p:spPr>
            <a:xfrm>
              <a:off x="8980720" y="3494931"/>
              <a:ext cx="2331544" cy="353459"/>
            </a:xfrm>
            <a:prstGeom prst="rect">
              <a:avLst/>
            </a:prstGeom>
          </p:spPr>
          <p:txBody>
            <a:bodyPr vert="horz" wrap="square" lIns="0" tIns="13999" rIns="0" bIns="0" rtlCol="0">
              <a:spAutoFit/>
            </a:bodyPr>
            <a:lstStyle/>
            <a:p>
              <a:pPr marL="13999" marR="5600">
                <a:spcBef>
                  <a:spcPts val="110"/>
                </a:spcBef>
              </a:pPr>
              <a:r>
                <a:rPr lang="fr-FR" sz="2205" b="1" spc="-11" dirty="0">
                  <a:solidFill>
                    <a:schemeClr val="accent2">
                      <a:lumMod val="75000"/>
                    </a:schemeClr>
                  </a:solidFill>
                  <a:latin typeface="Verdana" panose="020B0604030504040204" pitchFamily="34" charset="0"/>
                  <a:ea typeface="Verdana" panose="020B0604030504040204" pitchFamily="34" charset="0"/>
                  <a:cs typeface="Calibri"/>
                </a:rPr>
                <a:t>SHS</a:t>
              </a:r>
              <a:endParaRPr lang="fr-FR" sz="2205" dirty="0">
                <a:solidFill>
                  <a:schemeClr val="accent2">
                    <a:lumMod val="75000"/>
                  </a:schemeClr>
                </a:solidFill>
                <a:latin typeface="Verdana" panose="020B0604030504040204" pitchFamily="34" charset="0"/>
                <a:ea typeface="Verdana" panose="020B0604030504040204" pitchFamily="34" charset="0"/>
                <a:cs typeface="Calibri"/>
              </a:endParaRPr>
            </a:p>
          </p:txBody>
        </p:sp>
      </p:grpSp>
    </p:spTree>
    <p:extLst>
      <p:ext uri="{BB962C8B-B14F-4D97-AF65-F5344CB8AC3E}">
        <p14:creationId xmlns:p14="http://schemas.microsoft.com/office/powerpoint/2010/main" val="30748819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A8E1505-8778-4608-9DEE-742CAD5C9EA1}"/>
              </a:ext>
            </a:extLst>
          </p:cNvPr>
          <p:cNvGrpSpPr/>
          <p:nvPr/>
        </p:nvGrpSpPr>
        <p:grpSpPr>
          <a:xfrm>
            <a:off x="0" y="0"/>
            <a:ext cx="1976582" cy="6858000"/>
            <a:chOff x="0" y="0"/>
            <a:chExt cx="1976582" cy="6858000"/>
          </a:xfrm>
        </p:grpSpPr>
        <p:sp>
          <p:nvSpPr>
            <p:cNvPr id="5" name="Rectangle 4">
              <a:extLst>
                <a:ext uri="{FF2B5EF4-FFF2-40B4-BE49-F238E27FC236}">
                  <a16:creationId xmlns:a16="http://schemas.microsoft.com/office/drawing/2014/main" id="{B43ADF8A-10DF-4FF5-91F2-B59C434A9F40}"/>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6" name="Picture 2" descr="Eléments graphiques | INSA Lyon">
              <a:extLst>
                <a:ext uri="{FF2B5EF4-FFF2-40B4-BE49-F238E27FC236}">
                  <a16:creationId xmlns:a16="http://schemas.microsoft.com/office/drawing/2014/main" id="{DDBB5A02-5E4E-44CF-AA33-B4A1C8417B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397" y="249819"/>
              <a:ext cx="1708166" cy="49154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Deloitte Consulting LLP - Partner - Boomi">
              <a:extLst>
                <a:ext uri="{FF2B5EF4-FFF2-40B4-BE49-F238E27FC236}">
                  <a16:creationId xmlns:a16="http://schemas.microsoft.com/office/drawing/2014/main" id="{1FEACEBC-A77F-4C47-92CD-964262804D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AutoShape 12">
            <a:extLst>
              <a:ext uri="{FF2B5EF4-FFF2-40B4-BE49-F238E27FC236}">
                <a16:creationId xmlns:a16="http://schemas.microsoft.com/office/drawing/2014/main" id="{64E8AC6A-1ABC-48CE-AC44-E38EA4856A3F}"/>
              </a:ext>
            </a:extLst>
          </p:cNvPr>
          <p:cNvSpPr>
            <a:spLocks/>
          </p:cNvSpPr>
          <p:nvPr/>
        </p:nvSpPr>
        <p:spPr bwMode="auto">
          <a:xfrm>
            <a:off x="2493275" y="1900995"/>
            <a:ext cx="324000" cy="360000"/>
          </a:xfrm>
          <a:custGeom>
            <a:avLst/>
            <a:gdLst/>
            <a:ahLst/>
            <a:cxnLst/>
            <a:rect l="0" t="0" r="r" b="b"/>
            <a:pathLst>
              <a:path w="21600" h="21600">
                <a:moveTo>
                  <a:pt x="15908" y="14437"/>
                </a:moveTo>
                <a:lnTo>
                  <a:pt x="14395" y="13351"/>
                </a:lnTo>
                <a:lnTo>
                  <a:pt x="9683" y="16735"/>
                </a:lnTo>
                <a:lnTo>
                  <a:pt x="7644" y="15269"/>
                </a:lnTo>
                <a:lnTo>
                  <a:pt x="6130" y="16356"/>
                </a:lnTo>
                <a:lnTo>
                  <a:pt x="9683" y="18910"/>
                </a:lnTo>
                <a:cubicBezTo>
                  <a:pt x="9683" y="18910"/>
                  <a:pt x="15908" y="14437"/>
                  <a:pt x="15908" y="14437"/>
                </a:cubicBezTo>
                <a:close/>
                <a:moveTo>
                  <a:pt x="21600" y="10660"/>
                </a:moveTo>
                <a:lnTo>
                  <a:pt x="21600" y="21600"/>
                </a:lnTo>
                <a:lnTo>
                  <a:pt x="0" y="21600"/>
                </a:lnTo>
                <a:lnTo>
                  <a:pt x="0" y="10660"/>
                </a:lnTo>
                <a:cubicBezTo>
                  <a:pt x="0" y="10660"/>
                  <a:pt x="21600" y="10660"/>
                  <a:pt x="21600" y="10660"/>
                </a:cubicBezTo>
                <a:close/>
                <a:moveTo>
                  <a:pt x="6373" y="9088"/>
                </a:moveTo>
                <a:lnTo>
                  <a:pt x="2724" y="9088"/>
                </a:lnTo>
                <a:lnTo>
                  <a:pt x="2724" y="5802"/>
                </a:lnTo>
                <a:cubicBezTo>
                  <a:pt x="2724" y="2603"/>
                  <a:pt x="6347" y="0"/>
                  <a:pt x="10800" y="0"/>
                </a:cubicBezTo>
                <a:cubicBezTo>
                  <a:pt x="15253" y="0"/>
                  <a:pt x="18876" y="2603"/>
                  <a:pt x="18876" y="5802"/>
                </a:cubicBezTo>
                <a:lnTo>
                  <a:pt x="18876" y="9088"/>
                </a:lnTo>
                <a:lnTo>
                  <a:pt x="15227" y="9088"/>
                </a:lnTo>
                <a:lnTo>
                  <a:pt x="15227" y="5802"/>
                </a:lnTo>
                <a:cubicBezTo>
                  <a:pt x="15227" y="4048"/>
                  <a:pt x="13241" y="2621"/>
                  <a:pt x="10800" y="2621"/>
                </a:cubicBezTo>
                <a:cubicBezTo>
                  <a:pt x="8359" y="2621"/>
                  <a:pt x="6373" y="4048"/>
                  <a:pt x="6373" y="5802"/>
                </a:cubicBezTo>
                <a:cubicBezTo>
                  <a:pt x="6373" y="5802"/>
                  <a:pt x="6373" y="9088"/>
                  <a:pt x="6373" y="9088"/>
                </a:cubicBezTo>
                <a:close/>
                <a:moveTo>
                  <a:pt x="6373" y="9088"/>
                </a:moveTo>
              </a:path>
            </a:pathLst>
          </a:custGeom>
          <a:solidFill>
            <a:schemeClr val="accent5"/>
          </a:solidFill>
          <a:ln>
            <a:noFill/>
          </a:ln>
        </p:spPr>
        <p:txBody>
          <a:bodyPr lIns="0" tIns="0" rIns="0" bIns="0"/>
          <a:lstStyle/>
          <a:p>
            <a:endParaRPr lang="fr-FR" dirty="0">
              <a:solidFill>
                <a:srgbClr val="5BBE77"/>
              </a:solidFill>
              <a:latin typeface="+mj-lt"/>
            </a:endParaRPr>
          </a:p>
        </p:txBody>
      </p:sp>
      <p:sp>
        <p:nvSpPr>
          <p:cNvPr id="27" name="AutoShape 6">
            <a:extLst>
              <a:ext uri="{FF2B5EF4-FFF2-40B4-BE49-F238E27FC236}">
                <a16:creationId xmlns:a16="http://schemas.microsoft.com/office/drawing/2014/main" id="{3296FFE7-C31F-42AC-BA96-873DB213A62D}"/>
              </a:ext>
            </a:extLst>
          </p:cNvPr>
          <p:cNvSpPr>
            <a:spLocks/>
          </p:cNvSpPr>
          <p:nvPr/>
        </p:nvSpPr>
        <p:spPr bwMode="auto">
          <a:xfrm>
            <a:off x="2441089" y="3371634"/>
            <a:ext cx="468000" cy="360000"/>
          </a:xfrm>
          <a:custGeom>
            <a:avLst/>
            <a:gdLst/>
            <a:ahLst/>
            <a:cxnLst/>
            <a:rect l="0" t="0" r="r" b="b"/>
            <a:pathLst>
              <a:path w="21600" h="21600">
                <a:moveTo>
                  <a:pt x="9901" y="11003"/>
                </a:moveTo>
                <a:lnTo>
                  <a:pt x="8077" y="11003"/>
                </a:lnTo>
                <a:lnTo>
                  <a:pt x="8077" y="13471"/>
                </a:lnTo>
                <a:lnTo>
                  <a:pt x="9901" y="13471"/>
                </a:lnTo>
                <a:cubicBezTo>
                  <a:pt x="9901" y="13471"/>
                  <a:pt x="9901" y="11003"/>
                  <a:pt x="9901" y="11003"/>
                </a:cubicBezTo>
                <a:close/>
                <a:moveTo>
                  <a:pt x="7320" y="6637"/>
                </a:moveTo>
                <a:lnTo>
                  <a:pt x="5495" y="6637"/>
                </a:lnTo>
                <a:lnTo>
                  <a:pt x="5495" y="13471"/>
                </a:lnTo>
                <a:lnTo>
                  <a:pt x="7320" y="13471"/>
                </a:lnTo>
                <a:cubicBezTo>
                  <a:pt x="7320" y="13471"/>
                  <a:pt x="7320" y="6637"/>
                  <a:pt x="7320" y="6637"/>
                </a:cubicBezTo>
                <a:close/>
                <a:moveTo>
                  <a:pt x="4738" y="13471"/>
                </a:moveTo>
                <a:lnTo>
                  <a:pt x="2913" y="13471"/>
                </a:lnTo>
                <a:lnTo>
                  <a:pt x="2913" y="9004"/>
                </a:lnTo>
                <a:lnTo>
                  <a:pt x="4738" y="9004"/>
                </a:lnTo>
                <a:cubicBezTo>
                  <a:pt x="4738" y="9004"/>
                  <a:pt x="4738" y="13471"/>
                  <a:pt x="4738" y="13471"/>
                </a:cubicBezTo>
                <a:close/>
                <a:moveTo>
                  <a:pt x="10412" y="17792"/>
                </a:moveTo>
                <a:lnTo>
                  <a:pt x="0" y="17792"/>
                </a:lnTo>
                <a:lnTo>
                  <a:pt x="0" y="0"/>
                </a:lnTo>
                <a:lnTo>
                  <a:pt x="17542" y="0"/>
                </a:lnTo>
                <a:lnTo>
                  <a:pt x="17542" y="8207"/>
                </a:lnTo>
                <a:cubicBezTo>
                  <a:pt x="17011" y="7944"/>
                  <a:pt x="16438" y="7769"/>
                  <a:pt x="15839" y="7701"/>
                </a:cubicBezTo>
                <a:lnTo>
                  <a:pt x="15839" y="4241"/>
                </a:lnTo>
                <a:lnTo>
                  <a:pt x="1703" y="4241"/>
                </a:lnTo>
                <a:lnTo>
                  <a:pt x="1703" y="15843"/>
                </a:lnTo>
                <a:lnTo>
                  <a:pt x="9679" y="15843"/>
                </a:lnTo>
                <a:cubicBezTo>
                  <a:pt x="9831" y="16543"/>
                  <a:pt x="10081" y="17200"/>
                  <a:pt x="10412" y="17792"/>
                </a:cubicBezTo>
                <a:close/>
                <a:moveTo>
                  <a:pt x="15262" y="17256"/>
                </a:moveTo>
                <a:cubicBezTo>
                  <a:pt x="13817" y="17256"/>
                  <a:pt x="12641" y="15910"/>
                  <a:pt x="12641" y="14254"/>
                </a:cubicBezTo>
                <a:cubicBezTo>
                  <a:pt x="12641" y="12599"/>
                  <a:pt x="13817" y="11252"/>
                  <a:pt x="15262" y="11252"/>
                </a:cubicBezTo>
                <a:cubicBezTo>
                  <a:pt x="16708" y="11252"/>
                  <a:pt x="17885" y="12599"/>
                  <a:pt x="17885" y="14254"/>
                </a:cubicBezTo>
                <a:cubicBezTo>
                  <a:pt x="17885" y="15910"/>
                  <a:pt x="16708" y="17256"/>
                  <a:pt x="15262" y="17256"/>
                </a:cubicBezTo>
                <a:close/>
                <a:moveTo>
                  <a:pt x="18795" y="16811"/>
                </a:moveTo>
                <a:cubicBezTo>
                  <a:pt x="19205" y="16071"/>
                  <a:pt x="19443" y="15194"/>
                  <a:pt x="19443" y="14254"/>
                </a:cubicBezTo>
                <a:cubicBezTo>
                  <a:pt x="19443" y="11615"/>
                  <a:pt x="17567" y="9469"/>
                  <a:pt x="15262" y="9469"/>
                </a:cubicBezTo>
                <a:cubicBezTo>
                  <a:pt x="12957" y="9469"/>
                  <a:pt x="11082" y="11615"/>
                  <a:pt x="11082" y="14254"/>
                </a:cubicBezTo>
                <a:cubicBezTo>
                  <a:pt x="11082" y="16893"/>
                  <a:pt x="12957" y="19040"/>
                  <a:pt x="15262" y="19040"/>
                </a:cubicBezTo>
                <a:cubicBezTo>
                  <a:pt x="16042" y="19040"/>
                  <a:pt x="16773" y="18794"/>
                  <a:pt x="17398" y="18367"/>
                </a:cubicBezTo>
                <a:lnTo>
                  <a:pt x="20223" y="21600"/>
                </a:lnTo>
                <a:lnTo>
                  <a:pt x="21600" y="20023"/>
                </a:lnTo>
                <a:cubicBezTo>
                  <a:pt x="21600" y="20023"/>
                  <a:pt x="18795" y="16811"/>
                  <a:pt x="18795" y="16811"/>
                </a:cubicBezTo>
                <a:close/>
                <a:moveTo>
                  <a:pt x="18795" y="16811"/>
                </a:moveTo>
              </a:path>
            </a:pathLst>
          </a:custGeom>
          <a:solidFill>
            <a:schemeClr val="accent5"/>
          </a:solidFill>
          <a:ln>
            <a:noFill/>
          </a:ln>
        </p:spPr>
        <p:txBody>
          <a:bodyPr lIns="0" tIns="0" rIns="0" bIns="0"/>
          <a:lstStyle/>
          <a:p>
            <a:endParaRPr lang="fr-FR" dirty="0">
              <a:latin typeface="+mj-lt"/>
            </a:endParaRPr>
          </a:p>
        </p:txBody>
      </p:sp>
      <p:sp>
        <p:nvSpPr>
          <p:cNvPr id="28" name="Rectangle 27">
            <a:extLst>
              <a:ext uri="{FF2B5EF4-FFF2-40B4-BE49-F238E27FC236}">
                <a16:creationId xmlns:a16="http://schemas.microsoft.com/office/drawing/2014/main" id="{0446E9E8-AAEF-4407-BC33-A76202FBF54A}"/>
              </a:ext>
            </a:extLst>
          </p:cNvPr>
          <p:cNvSpPr/>
          <p:nvPr/>
        </p:nvSpPr>
        <p:spPr>
          <a:xfrm>
            <a:off x="2264605" y="1622234"/>
            <a:ext cx="4619299" cy="4506268"/>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endParaRPr lang="fr-FR" sz="1100" dirty="0">
              <a:solidFill>
                <a:schemeClr val="tx1"/>
              </a:solidFill>
              <a:latin typeface="+mj-lt"/>
            </a:endParaRPr>
          </a:p>
        </p:txBody>
      </p:sp>
      <p:sp>
        <p:nvSpPr>
          <p:cNvPr id="29" name="Rectangle 395">
            <a:extLst>
              <a:ext uri="{FF2B5EF4-FFF2-40B4-BE49-F238E27FC236}">
                <a16:creationId xmlns:a16="http://schemas.microsoft.com/office/drawing/2014/main" id="{6EE0149D-8963-4206-94CD-E1EF8FCDE084}"/>
              </a:ext>
            </a:extLst>
          </p:cNvPr>
          <p:cNvSpPr>
            <a:spLocks noChangeArrowheads="1"/>
          </p:cNvSpPr>
          <p:nvPr/>
        </p:nvSpPr>
        <p:spPr bwMode="gray">
          <a:xfrm>
            <a:off x="2264605" y="1222184"/>
            <a:ext cx="4630522" cy="400551"/>
          </a:xfrm>
          <a:prstGeom prst="rect">
            <a:avLst/>
          </a:prstGeom>
          <a:solidFill>
            <a:schemeClr val="accent2"/>
          </a:solidFill>
          <a:ln w="9525">
            <a:noFill/>
            <a:miter lim="800000"/>
            <a:headEnd/>
            <a:tailEnd/>
          </a:ln>
          <a:effectLst/>
        </p:spPr>
        <p:txBody>
          <a:bodyPr lIns="108000" tIns="0" rIns="108000" bIns="0" anchor="ctr"/>
          <a:lstStyle>
            <a:lvl1pPr defTabSz="801688">
              <a:defRPr>
                <a:solidFill>
                  <a:schemeClr val="tx1"/>
                </a:solidFill>
                <a:latin typeface="Arial" charset="0"/>
                <a:cs typeface="Arial" charset="0"/>
              </a:defRPr>
            </a:lvl1pPr>
            <a:lvl2pPr marL="742950" indent="-285750" defTabSz="801688">
              <a:defRPr>
                <a:solidFill>
                  <a:schemeClr val="tx1"/>
                </a:solidFill>
                <a:latin typeface="Arial" charset="0"/>
                <a:cs typeface="Arial" charset="0"/>
              </a:defRPr>
            </a:lvl2pPr>
            <a:lvl3pPr marL="1143000" indent="-228600" defTabSz="801688">
              <a:defRPr>
                <a:solidFill>
                  <a:schemeClr val="tx1"/>
                </a:solidFill>
                <a:latin typeface="Arial" charset="0"/>
                <a:cs typeface="Arial" charset="0"/>
              </a:defRPr>
            </a:lvl3pPr>
            <a:lvl4pPr marL="1600200" indent="-228600" defTabSz="801688">
              <a:defRPr>
                <a:solidFill>
                  <a:schemeClr val="tx1"/>
                </a:solidFill>
                <a:latin typeface="Arial" charset="0"/>
                <a:cs typeface="Arial" charset="0"/>
              </a:defRPr>
            </a:lvl4pPr>
            <a:lvl5pPr marL="2057400" indent="-228600" defTabSz="801688">
              <a:defRPr>
                <a:solidFill>
                  <a:schemeClr val="tx1"/>
                </a:solidFill>
                <a:latin typeface="Arial" charset="0"/>
                <a:cs typeface="Arial" charset="0"/>
              </a:defRPr>
            </a:lvl5pPr>
            <a:lvl6pPr marL="2514600" indent="-228600" defTabSz="801688" fontAlgn="base">
              <a:spcBef>
                <a:spcPct val="0"/>
              </a:spcBef>
              <a:spcAft>
                <a:spcPct val="0"/>
              </a:spcAft>
              <a:defRPr>
                <a:solidFill>
                  <a:schemeClr val="tx1"/>
                </a:solidFill>
                <a:latin typeface="Arial" charset="0"/>
                <a:cs typeface="Arial" charset="0"/>
              </a:defRPr>
            </a:lvl6pPr>
            <a:lvl7pPr marL="2971800" indent="-228600" defTabSz="801688" fontAlgn="base">
              <a:spcBef>
                <a:spcPct val="0"/>
              </a:spcBef>
              <a:spcAft>
                <a:spcPct val="0"/>
              </a:spcAft>
              <a:defRPr>
                <a:solidFill>
                  <a:schemeClr val="tx1"/>
                </a:solidFill>
                <a:latin typeface="Arial" charset="0"/>
                <a:cs typeface="Arial" charset="0"/>
              </a:defRPr>
            </a:lvl7pPr>
            <a:lvl8pPr marL="3429000" indent="-228600" defTabSz="801688" fontAlgn="base">
              <a:spcBef>
                <a:spcPct val="0"/>
              </a:spcBef>
              <a:spcAft>
                <a:spcPct val="0"/>
              </a:spcAft>
              <a:defRPr>
                <a:solidFill>
                  <a:schemeClr val="tx1"/>
                </a:solidFill>
                <a:latin typeface="Arial" charset="0"/>
                <a:cs typeface="Arial" charset="0"/>
              </a:defRPr>
            </a:lvl8pPr>
            <a:lvl9pPr marL="3886200" indent="-228600" defTabSz="801688" fontAlgn="base">
              <a:spcBef>
                <a:spcPct val="0"/>
              </a:spcBef>
              <a:spcAft>
                <a:spcPct val="0"/>
              </a:spcAft>
              <a:defRPr>
                <a:solidFill>
                  <a:schemeClr val="tx1"/>
                </a:solidFill>
                <a:latin typeface="Arial" charset="0"/>
                <a:cs typeface="Arial" charset="0"/>
              </a:defRPr>
            </a:lvl9pPr>
          </a:lstStyle>
          <a:p>
            <a:pPr lvl="0" algn="ctr" eaLnBrk="0" hangingPunct="0">
              <a:defRPr/>
            </a:pPr>
            <a:r>
              <a:rPr lang="fr-FR" sz="1200" b="1" kern="0" noProof="1">
                <a:solidFill>
                  <a:srgbClr val="FFFFFF"/>
                </a:solidFill>
                <a:latin typeface="+mj-lt"/>
                <a:ea typeface="Segoe UI Symbol" panose="020B0502040204020203" pitchFamily="34" charset="0"/>
              </a:rPr>
              <a:t>Bilan technique</a:t>
            </a:r>
            <a:endParaRPr kumimoji="0" lang="fr-FR" sz="1200" b="1" i="0" u="none" strike="noStrike" kern="0" cap="none" spc="0" normalizeH="0" baseline="0" noProof="1">
              <a:ln>
                <a:noFill/>
              </a:ln>
              <a:solidFill>
                <a:srgbClr val="FFFFFF"/>
              </a:solidFill>
              <a:effectLst/>
              <a:uLnTx/>
              <a:uFillTx/>
              <a:latin typeface="+mj-lt"/>
              <a:ea typeface="Segoe UI Symbol" panose="020B0502040204020203" pitchFamily="34" charset="0"/>
            </a:endParaRPr>
          </a:p>
        </p:txBody>
      </p:sp>
      <p:sp>
        <p:nvSpPr>
          <p:cNvPr id="30" name="ZoneTexte 124">
            <a:extLst>
              <a:ext uri="{FF2B5EF4-FFF2-40B4-BE49-F238E27FC236}">
                <a16:creationId xmlns:a16="http://schemas.microsoft.com/office/drawing/2014/main" id="{20058797-752F-45F1-830B-9E93F88518D3}"/>
              </a:ext>
            </a:extLst>
          </p:cNvPr>
          <p:cNvSpPr txBox="1"/>
          <p:nvPr/>
        </p:nvSpPr>
        <p:spPr>
          <a:xfrm>
            <a:off x="3031127" y="1771771"/>
            <a:ext cx="3744000" cy="1107996"/>
          </a:xfrm>
          <a:prstGeom prst="rect">
            <a:avLst/>
          </a:prstGeom>
          <a:noFill/>
        </p:spPr>
        <p:txBody>
          <a:bodyPr wrap="square">
            <a:spAutoFit/>
          </a:bodyPr>
          <a:lstStyle/>
          <a:p>
            <a:pPr>
              <a:buClr>
                <a:srgbClr val="5F5F5F"/>
              </a:buClr>
            </a:pPr>
            <a:r>
              <a:rPr lang="fr-FR" sz="1100" dirty="0">
                <a:latin typeface="+mj-lt"/>
                <a:ea typeface="Segoe UI Symbol" panose="020B0502040204020203" pitchFamily="34" charset="0"/>
              </a:rPr>
              <a:t>Compétences techniques :</a:t>
            </a:r>
          </a:p>
          <a:p>
            <a:pPr marL="171450" indent="-171450">
              <a:buClr>
                <a:srgbClr val="5F5F5F"/>
              </a:buClr>
              <a:buFont typeface="Wingdings" panose="05000000000000000000" pitchFamily="2" charset="2"/>
              <a:buChar char="ü"/>
            </a:pPr>
            <a:r>
              <a:rPr lang="fr-FR" sz="1100" dirty="0">
                <a:latin typeface="+mj-lt"/>
                <a:ea typeface="Segoe UI Symbol" panose="020B0502040204020203" pitchFamily="34" charset="0"/>
              </a:rPr>
              <a:t>Conduite d’interviews</a:t>
            </a:r>
          </a:p>
          <a:p>
            <a:pPr marL="171450" indent="-171450">
              <a:buClr>
                <a:srgbClr val="5F5F5F"/>
              </a:buClr>
              <a:buFont typeface="Wingdings" panose="05000000000000000000" pitchFamily="2" charset="2"/>
              <a:buChar char="ü"/>
            </a:pPr>
            <a:r>
              <a:rPr lang="fr-FR" sz="1100" dirty="0">
                <a:latin typeface="+mj-lt"/>
                <a:ea typeface="Segoe UI Symbol" panose="020B0502040204020203" pitchFamily="34" charset="0"/>
              </a:rPr>
              <a:t>Conception et présentation de livrables</a:t>
            </a:r>
          </a:p>
          <a:p>
            <a:pPr marL="171450" indent="-171450">
              <a:buClr>
                <a:srgbClr val="5F5F5F"/>
              </a:buClr>
              <a:buFont typeface="Wingdings" panose="05000000000000000000" pitchFamily="2" charset="2"/>
              <a:buChar char="ü"/>
            </a:pPr>
            <a:r>
              <a:rPr lang="fr-FR" sz="1100" dirty="0">
                <a:solidFill>
                  <a:schemeClr val="tx1"/>
                </a:solidFill>
                <a:latin typeface="+mj-lt"/>
              </a:rPr>
              <a:t>Connaissances en capacités et besoins cyber au sein d’une entreprise</a:t>
            </a:r>
          </a:p>
          <a:p>
            <a:pPr>
              <a:buClr>
                <a:srgbClr val="5F5F5F"/>
              </a:buClr>
            </a:pPr>
            <a:endParaRPr lang="fr-FR" sz="1100" dirty="0">
              <a:latin typeface="+mj-lt"/>
              <a:ea typeface="Segoe UI Symbol" panose="020B0502040204020203" pitchFamily="34" charset="0"/>
            </a:endParaRPr>
          </a:p>
        </p:txBody>
      </p:sp>
      <p:sp>
        <p:nvSpPr>
          <p:cNvPr id="31" name="ZoneTexte 132">
            <a:extLst>
              <a:ext uri="{FF2B5EF4-FFF2-40B4-BE49-F238E27FC236}">
                <a16:creationId xmlns:a16="http://schemas.microsoft.com/office/drawing/2014/main" id="{1421EB22-1632-4920-8CCF-2951FB650D9A}"/>
              </a:ext>
            </a:extLst>
          </p:cNvPr>
          <p:cNvSpPr txBox="1"/>
          <p:nvPr/>
        </p:nvSpPr>
        <p:spPr>
          <a:xfrm>
            <a:off x="3031797" y="4525291"/>
            <a:ext cx="3744000" cy="430887"/>
          </a:xfrm>
          <a:prstGeom prst="rect">
            <a:avLst/>
          </a:prstGeom>
          <a:noFill/>
        </p:spPr>
        <p:txBody>
          <a:bodyPr wrap="square">
            <a:spAutoFit/>
          </a:bodyPr>
          <a:lstStyle/>
          <a:p>
            <a:pPr marL="171450" indent="-171450">
              <a:buFont typeface="Wingdings" panose="05000000000000000000" pitchFamily="2" charset="2"/>
              <a:buChar char="ü"/>
            </a:pPr>
            <a:r>
              <a:rPr lang="fr-FR" sz="1100" dirty="0"/>
              <a:t>Meilleure compréhension des problématiques et besoins cyber de grands groupes</a:t>
            </a:r>
          </a:p>
        </p:txBody>
      </p:sp>
      <p:sp>
        <p:nvSpPr>
          <p:cNvPr id="32" name="ZoneTexte 133">
            <a:extLst>
              <a:ext uri="{FF2B5EF4-FFF2-40B4-BE49-F238E27FC236}">
                <a16:creationId xmlns:a16="http://schemas.microsoft.com/office/drawing/2014/main" id="{E9FA67C8-3CA6-45AC-8555-73A48F7B59AD}"/>
              </a:ext>
            </a:extLst>
          </p:cNvPr>
          <p:cNvSpPr txBox="1"/>
          <p:nvPr/>
        </p:nvSpPr>
        <p:spPr>
          <a:xfrm>
            <a:off x="3031127" y="5595319"/>
            <a:ext cx="3744000" cy="261610"/>
          </a:xfrm>
          <a:prstGeom prst="rect">
            <a:avLst/>
          </a:prstGeom>
          <a:noFill/>
        </p:spPr>
        <p:txBody>
          <a:bodyPr wrap="square">
            <a:spAutoFit/>
          </a:bodyPr>
          <a:lstStyle/>
          <a:p>
            <a:pPr marL="171450" indent="-171450">
              <a:buClr>
                <a:srgbClr val="5F5F5F"/>
              </a:buClr>
              <a:buFont typeface="Wingdings" panose="05000000000000000000" pitchFamily="2" charset="2"/>
              <a:buChar char="ü"/>
            </a:pPr>
            <a:r>
              <a:rPr lang="fr-FR" sz="1100" dirty="0">
                <a:latin typeface="+mj-lt"/>
                <a:ea typeface="Segoe UI Symbol" panose="020B0502040204020203" pitchFamily="34" charset="0"/>
              </a:rPr>
              <a:t>Expérience pour de futures analyses</a:t>
            </a:r>
          </a:p>
        </p:txBody>
      </p:sp>
      <p:sp>
        <p:nvSpPr>
          <p:cNvPr id="33" name="ZoneTexte 134">
            <a:extLst>
              <a:ext uri="{FF2B5EF4-FFF2-40B4-BE49-F238E27FC236}">
                <a16:creationId xmlns:a16="http://schemas.microsoft.com/office/drawing/2014/main" id="{C7CA4193-8D44-4166-90EF-3E2E9CCB9053}"/>
              </a:ext>
            </a:extLst>
          </p:cNvPr>
          <p:cNvSpPr txBox="1"/>
          <p:nvPr/>
        </p:nvSpPr>
        <p:spPr>
          <a:xfrm>
            <a:off x="3033137" y="3295287"/>
            <a:ext cx="3744000" cy="600164"/>
          </a:xfrm>
          <a:prstGeom prst="rect">
            <a:avLst/>
          </a:prstGeom>
          <a:noFill/>
        </p:spPr>
        <p:txBody>
          <a:bodyPr wrap="square">
            <a:spAutoFit/>
          </a:bodyPr>
          <a:lstStyle/>
          <a:p>
            <a:r>
              <a:rPr lang="fr-FR" sz="1100" dirty="0">
                <a:solidFill>
                  <a:schemeClr val="tx1"/>
                </a:solidFill>
                <a:latin typeface="+mj-lt"/>
              </a:rPr>
              <a:t>Compétences stratégiques :</a:t>
            </a:r>
          </a:p>
          <a:p>
            <a:pPr marL="285750" indent="-285750">
              <a:buFont typeface="Wingdings" panose="05000000000000000000" pitchFamily="2" charset="2"/>
              <a:buChar char="ü"/>
            </a:pPr>
            <a:r>
              <a:rPr lang="fr-FR" sz="1100" dirty="0">
                <a:solidFill>
                  <a:schemeClr val="tx1"/>
                </a:solidFill>
                <a:latin typeface="+mj-lt"/>
              </a:rPr>
              <a:t>Analyse des besoins cyber</a:t>
            </a:r>
          </a:p>
          <a:p>
            <a:pPr marL="285750" indent="-285750">
              <a:buFont typeface="Wingdings" panose="05000000000000000000" pitchFamily="2" charset="2"/>
              <a:buChar char="ü"/>
            </a:pPr>
            <a:r>
              <a:rPr lang="fr-FR" sz="1100" dirty="0">
                <a:solidFill>
                  <a:schemeClr val="tx1"/>
                </a:solidFill>
                <a:latin typeface="+mj-lt"/>
              </a:rPr>
              <a:t>Conception d’une approche adéquate</a:t>
            </a:r>
          </a:p>
        </p:txBody>
      </p:sp>
      <p:grpSp>
        <p:nvGrpSpPr>
          <p:cNvPr id="34" name="Graphic 4">
            <a:extLst>
              <a:ext uri="{FF2B5EF4-FFF2-40B4-BE49-F238E27FC236}">
                <a16:creationId xmlns:a16="http://schemas.microsoft.com/office/drawing/2014/main" id="{C3D60243-EAD5-4304-A214-204A5EF5A366}"/>
              </a:ext>
            </a:extLst>
          </p:cNvPr>
          <p:cNvGrpSpPr/>
          <p:nvPr/>
        </p:nvGrpSpPr>
        <p:grpSpPr>
          <a:xfrm>
            <a:off x="2459233" y="4563074"/>
            <a:ext cx="360000" cy="360000"/>
            <a:chOff x="539310" y="2457357"/>
            <a:chExt cx="218535" cy="188965"/>
          </a:xfrm>
          <a:solidFill>
            <a:schemeClr val="accent5"/>
          </a:solidFill>
        </p:grpSpPr>
        <p:sp>
          <p:nvSpPr>
            <p:cNvPr id="44" name="Graphic 4">
              <a:extLst>
                <a:ext uri="{FF2B5EF4-FFF2-40B4-BE49-F238E27FC236}">
                  <a16:creationId xmlns:a16="http://schemas.microsoft.com/office/drawing/2014/main" id="{380B327E-212E-4958-8EAD-F3C95A4D6A47}"/>
                </a:ext>
              </a:extLst>
            </p:cNvPr>
            <p:cNvSpPr/>
            <p:nvPr/>
          </p:nvSpPr>
          <p:spPr>
            <a:xfrm>
              <a:off x="539310" y="2457357"/>
              <a:ext cx="218535" cy="188965"/>
            </a:xfrm>
            <a:custGeom>
              <a:avLst/>
              <a:gdLst>
                <a:gd name="connsiteX0" fmla="*/ 212146 w 218535"/>
                <a:gd name="connsiteY0" fmla="*/ 29366 h 188965"/>
                <a:gd name="connsiteX1" fmla="*/ 159748 w 218535"/>
                <a:gd name="connsiteY1" fmla="*/ 29366 h 188965"/>
                <a:gd name="connsiteX2" fmla="*/ 159748 w 218535"/>
                <a:gd name="connsiteY2" fmla="*/ 6384 h 188965"/>
                <a:gd name="connsiteX3" fmla="*/ 153358 w 218535"/>
                <a:gd name="connsiteY3" fmla="*/ 0 h 188965"/>
                <a:gd name="connsiteX4" fmla="*/ 65177 w 218535"/>
                <a:gd name="connsiteY4" fmla="*/ 0 h 188965"/>
                <a:gd name="connsiteX5" fmla="*/ 58787 w 218535"/>
                <a:gd name="connsiteY5" fmla="*/ 6384 h 188965"/>
                <a:gd name="connsiteX6" fmla="*/ 58787 w 218535"/>
                <a:gd name="connsiteY6" fmla="*/ 29366 h 188965"/>
                <a:gd name="connsiteX7" fmla="*/ 6390 w 218535"/>
                <a:gd name="connsiteY7" fmla="*/ 29366 h 188965"/>
                <a:gd name="connsiteX8" fmla="*/ 0 w 218535"/>
                <a:gd name="connsiteY8" fmla="*/ 35750 h 188965"/>
                <a:gd name="connsiteX9" fmla="*/ 0 w 218535"/>
                <a:gd name="connsiteY9" fmla="*/ 182582 h 188965"/>
                <a:gd name="connsiteX10" fmla="*/ 6390 w 218535"/>
                <a:gd name="connsiteY10" fmla="*/ 188966 h 188965"/>
                <a:gd name="connsiteX11" fmla="*/ 212146 w 218535"/>
                <a:gd name="connsiteY11" fmla="*/ 188966 h 188965"/>
                <a:gd name="connsiteX12" fmla="*/ 218536 w 218535"/>
                <a:gd name="connsiteY12" fmla="*/ 182582 h 188965"/>
                <a:gd name="connsiteX13" fmla="*/ 218536 w 218535"/>
                <a:gd name="connsiteY13" fmla="*/ 35750 h 188965"/>
                <a:gd name="connsiteX14" fmla="*/ 212146 w 218535"/>
                <a:gd name="connsiteY14" fmla="*/ 29366 h 188965"/>
                <a:gd name="connsiteX15" fmla="*/ 71567 w 218535"/>
                <a:gd name="connsiteY15" fmla="*/ 12768 h 188965"/>
                <a:gd name="connsiteX16" fmla="*/ 146969 w 218535"/>
                <a:gd name="connsiteY16" fmla="*/ 12768 h 188965"/>
                <a:gd name="connsiteX17" fmla="*/ 146969 w 218535"/>
                <a:gd name="connsiteY17" fmla="*/ 176836 h 188965"/>
                <a:gd name="connsiteX18" fmla="*/ 100961 w 218535"/>
                <a:gd name="connsiteY18" fmla="*/ 176836 h 188965"/>
                <a:gd name="connsiteX19" fmla="*/ 100961 w 218535"/>
                <a:gd name="connsiteY19" fmla="*/ 153854 h 188965"/>
                <a:gd name="connsiteX20" fmla="*/ 94571 w 218535"/>
                <a:gd name="connsiteY20" fmla="*/ 147470 h 188965"/>
                <a:gd name="connsiteX21" fmla="*/ 88181 w 218535"/>
                <a:gd name="connsiteY21" fmla="*/ 153854 h 188965"/>
                <a:gd name="connsiteX22" fmla="*/ 88181 w 218535"/>
                <a:gd name="connsiteY22" fmla="*/ 176836 h 188965"/>
                <a:gd name="connsiteX23" fmla="*/ 71567 w 218535"/>
                <a:gd name="connsiteY23" fmla="*/ 176836 h 188965"/>
                <a:gd name="connsiteX24" fmla="*/ 71567 w 218535"/>
                <a:gd name="connsiteY24" fmla="*/ 12768 h 188965"/>
                <a:gd name="connsiteX25" fmla="*/ 12780 w 218535"/>
                <a:gd name="connsiteY25" fmla="*/ 42134 h 188965"/>
                <a:gd name="connsiteX26" fmla="*/ 58787 w 218535"/>
                <a:gd name="connsiteY26" fmla="*/ 42134 h 188965"/>
                <a:gd name="connsiteX27" fmla="*/ 58787 w 218535"/>
                <a:gd name="connsiteY27" fmla="*/ 176198 h 188965"/>
                <a:gd name="connsiteX28" fmla="*/ 42174 w 218535"/>
                <a:gd name="connsiteY28" fmla="*/ 176198 h 188965"/>
                <a:gd name="connsiteX29" fmla="*/ 42174 w 218535"/>
                <a:gd name="connsiteY29" fmla="*/ 153216 h 188965"/>
                <a:gd name="connsiteX30" fmla="*/ 35784 w 218535"/>
                <a:gd name="connsiteY30" fmla="*/ 146832 h 188965"/>
                <a:gd name="connsiteX31" fmla="*/ 29394 w 218535"/>
                <a:gd name="connsiteY31" fmla="*/ 153216 h 188965"/>
                <a:gd name="connsiteX32" fmla="*/ 29394 w 218535"/>
                <a:gd name="connsiteY32" fmla="*/ 176836 h 188965"/>
                <a:gd name="connsiteX33" fmla="*/ 12780 w 218535"/>
                <a:gd name="connsiteY33" fmla="*/ 176836 h 188965"/>
                <a:gd name="connsiteX34" fmla="*/ 12780 w 218535"/>
                <a:gd name="connsiteY34" fmla="*/ 42134 h 188965"/>
                <a:gd name="connsiteX35" fmla="*/ 205756 w 218535"/>
                <a:gd name="connsiteY35" fmla="*/ 176198 h 188965"/>
                <a:gd name="connsiteX36" fmla="*/ 189142 w 218535"/>
                <a:gd name="connsiteY36" fmla="*/ 176198 h 188965"/>
                <a:gd name="connsiteX37" fmla="*/ 189142 w 218535"/>
                <a:gd name="connsiteY37" fmla="*/ 153216 h 188965"/>
                <a:gd name="connsiteX38" fmla="*/ 182752 w 218535"/>
                <a:gd name="connsiteY38" fmla="*/ 146832 h 188965"/>
                <a:gd name="connsiteX39" fmla="*/ 176362 w 218535"/>
                <a:gd name="connsiteY39" fmla="*/ 153216 h 188965"/>
                <a:gd name="connsiteX40" fmla="*/ 176362 w 218535"/>
                <a:gd name="connsiteY40" fmla="*/ 176836 h 188965"/>
                <a:gd name="connsiteX41" fmla="*/ 159748 w 218535"/>
                <a:gd name="connsiteY41" fmla="*/ 176836 h 188965"/>
                <a:gd name="connsiteX42" fmla="*/ 159748 w 218535"/>
                <a:gd name="connsiteY42" fmla="*/ 42773 h 188965"/>
                <a:gd name="connsiteX43" fmla="*/ 205756 w 218535"/>
                <a:gd name="connsiteY43" fmla="*/ 42773 h 188965"/>
                <a:gd name="connsiteX44" fmla="*/ 205756 w 218535"/>
                <a:gd name="connsiteY44"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8535" h="188965">
                  <a:moveTo>
                    <a:pt x="212146" y="29366"/>
                  </a:moveTo>
                  <a:lnTo>
                    <a:pt x="159748" y="29366"/>
                  </a:lnTo>
                  <a:lnTo>
                    <a:pt x="159748" y="6384"/>
                  </a:lnTo>
                  <a:cubicBezTo>
                    <a:pt x="159748" y="2554"/>
                    <a:pt x="157192" y="0"/>
                    <a:pt x="153358" y="0"/>
                  </a:cubicBezTo>
                  <a:lnTo>
                    <a:pt x="65177" y="0"/>
                  </a:lnTo>
                  <a:cubicBezTo>
                    <a:pt x="61343" y="0"/>
                    <a:pt x="58787" y="2554"/>
                    <a:pt x="58787" y="6384"/>
                  </a:cubicBezTo>
                  <a:lnTo>
                    <a:pt x="58787" y="29366"/>
                  </a:lnTo>
                  <a:lnTo>
                    <a:pt x="6390" y="29366"/>
                  </a:lnTo>
                  <a:cubicBezTo>
                    <a:pt x="2556" y="29366"/>
                    <a:pt x="0" y="31920"/>
                    <a:pt x="0" y="35750"/>
                  </a:cubicBezTo>
                  <a:lnTo>
                    <a:pt x="0" y="182582"/>
                  </a:lnTo>
                  <a:cubicBezTo>
                    <a:pt x="0" y="186412"/>
                    <a:pt x="2556" y="188966"/>
                    <a:pt x="6390" y="188966"/>
                  </a:cubicBezTo>
                  <a:lnTo>
                    <a:pt x="212146" y="188966"/>
                  </a:lnTo>
                  <a:cubicBezTo>
                    <a:pt x="215980" y="188966"/>
                    <a:pt x="218536" y="186412"/>
                    <a:pt x="218536" y="182582"/>
                  </a:cubicBezTo>
                  <a:lnTo>
                    <a:pt x="218536" y="35750"/>
                  </a:lnTo>
                  <a:cubicBezTo>
                    <a:pt x="218536" y="32558"/>
                    <a:pt x="215980" y="29366"/>
                    <a:pt x="212146" y="29366"/>
                  </a:cubicBezTo>
                  <a:close/>
                  <a:moveTo>
                    <a:pt x="71567" y="12768"/>
                  </a:moveTo>
                  <a:lnTo>
                    <a:pt x="146969" y="12768"/>
                  </a:lnTo>
                  <a:lnTo>
                    <a:pt x="146969" y="176836"/>
                  </a:lnTo>
                  <a:lnTo>
                    <a:pt x="100961" y="176836"/>
                  </a:lnTo>
                  <a:lnTo>
                    <a:pt x="100961" y="153854"/>
                  </a:lnTo>
                  <a:cubicBezTo>
                    <a:pt x="100961" y="150024"/>
                    <a:pt x="98405" y="147470"/>
                    <a:pt x="94571" y="147470"/>
                  </a:cubicBezTo>
                  <a:cubicBezTo>
                    <a:pt x="90737" y="147470"/>
                    <a:pt x="88181" y="150024"/>
                    <a:pt x="88181" y="153854"/>
                  </a:cubicBezTo>
                  <a:lnTo>
                    <a:pt x="88181" y="176836"/>
                  </a:lnTo>
                  <a:lnTo>
                    <a:pt x="71567" y="176836"/>
                  </a:lnTo>
                  <a:lnTo>
                    <a:pt x="71567" y="12768"/>
                  </a:lnTo>
                  <a:close/>
                  <a:moveTo>
                    <a:pt x="12780" y="42134"/>
                  </a:moveTo>
                  <a:lnTo>
                    <a:pt x="58787" y="42134"/>
                  </a:lnTo>
                  <a:lnTo>
                    <a:pt x="58787" y="176198"/>
                  </a:lnTo>
                  <a:lnTo>
                    <a:pt x="42174" y="176198"/>
                  </a:lnTo>
                  <a:lnTo>
                    <a:pt x="42174" y="153216"/>
                  </a:lnTo>
                  <a:cubicBezTo>
                    <a:pt x="42174" y="149385"/>
                    <a:pt x="39618" y="146832"/>
                    <a:pt x="35784" y="146832"/>
                  </a:cubicBezTo>
                  <a:cubicBezTo>
                    <a:pt x="31950" y="146832"/>
                    <a:pt x="29394" y="149385"/>
                    <a:pt x="29394" y="153216"/>
                  </a:cubicBezTo>
                  <a:lnTo>
                    <a:pt x="29394" y="176836"/>
                  </a:lnTo>
                  <a:lnTo>
                    <a:pt x="12780" y="176836"/>
                  </a:lnTo>
                  <a:lnTo>
                    <a:pt x="12780" y="42134"/>
                  </a:lnTo>
                  <a:close/>
                  <a:moveTo>
                    <a:pt x="205756" y="176198"/>
                  </a:moveTo>
                  <a:lnTo>
                    <a:pt x="189142" y="176198"/>
                  </a:lnTo>
                  <a:lnTo>
                    <a:pt x="189142" y="153216"/>
                  </a:lnTo>
                  <a:cubicBezTo>
                    <a:pt x="189142" y="149385"/>
                    <a:pt x="186586" y="146832"/>
                    <a:pt x="182752" y="146832"/>
                  </a:cubicBezTo>
                  <a:cubicBezTo>
                    <a:pt x="178918" y="146832"/>
                    <a:pt x="176362" y="149385"/>
                    <a:pt x="176362" y="153216"/>
                  </a:cubicBezTo>
                  <a:lnTo>
                    <a:pt x="176362" y="176836"/>
                  </a:lnTo>
                  <a:lnTo>
                    <a:pt x="159748" y="176836"/>
                  </a:lnTo>
                  <a:lnTo>
                    <a:pt x="159748" y="42773"/>
                  </a:lnTo>
                  <a:lnTo>
                    <a:pt x="205756" y="42773"/>
                  </a:lnTo>
                  <a:lnTo>
                    <a:pt x="205756" y="176198"/>
                  </a:lnTo>
                  <a:close/>
                </a:path>
              </a:pathLst>
            </a:custGeom>
            <a:grpFill/>
            <a:ln w="6390" cap="flat">
              <a:noFill/>
              <a:prstDash val="solid"/>
              <a:miter/>
            </a:ln>
          </p:spPr>
          <p:txBody>
            <a:bodyPr rtlCol="0" anchor="ctr"/>
            <a:lstStyle/>
            <a:p>
              <a:endParaRPr lang="en-US" dirty="0"/>
            </a:p>
          </p:txBody>
        </p:sp>
        <p:sp>
          <p:nvSpPr>
            <p:cNvPr id="45" name="Graphic 4">
              <a:extLst>
                <a:ext uri="{FF2B5EF4-FFF2-40B4-BE49-F238E27FC236}">
                  <a16:creationId xmlns:a16="http://schemas.microsoft.com/office/drawing/2014/main" id="{B47841C6-0CE2-4A16-930B-528AFB5C7E8F}"/>
                </a:ext>
              </a:extLst>
            </p:cNvPr>
            <p:cNvSpPr/>
            <p:nvPr/>
          </p:nvSpPr>
          <p:spPr>
            <a:xfrm>
              <a:off x="568704" y="2574822"/>
              <a:ext cx="12779" cy="12767"/>
            </a:xfrm>
            <a:custGeom>
              <a:avLst/>
              <a:gdLst>
                <a:gd name="connsiteX0" fmla="*/ 6390 w 12779"/>
                <a:gd name="connsiteY0" fmla="*/ 12768 h 12767"/>
                <a:gd name="connsiteX1" fmla="*/ 10863 w 12779"/>
                <a:gd name="connsiteY1" fmla="*/ 10853 h 12767"/>
                <a:gd name="connsiteX2" fmla="*/ 12141 w 12779"/>
                <a:gd name="connsiteY2" fmla="*/ 8938 h 12767"/>
                <a:gd name="connsiteX3" fmla="*/ 12780 w 12779"/>
                <a:gd name="connsiteY3" fmla="*/ 6384 h 12767"/>
                <a:gd name="connsiteX4" fmla="*/ 12141 w 12779"/>
                <a:gd name="connsiteY4" fmla="*/ 3830 h 12767"/>
                <a:gd name="connsiteX5" fmla="*/ 10863 w 12779"/>
                <a:gd name="connsiteY5" fmla="*/ 1915 h 12767"/>
                <a:gd name="connsiteX6" fmla="*/ 5112 w 12779"/>
                <a:gd name="connsiteY6" fmla="*/ 0 h 12767"/>
                <a:gd name="connsiteX7" fmla="*/ 3834 w 12779"/>
                <a:gd name="connsiteY7" fmla="*/ 638 h 12767"/>
                <a:gd name="connsiteX8" fmla="*/ 1917 w 12779"/>
                <a:gd name="connsiteY8" fmla="*/ 1915 h 12767"/>
                <a:gd name="connsiteX9" fmla="*/ 639 w 12779"/>
                <a:gd name="connsiteY9" fmla="*/ 3830 h 12767"/>
                <a:gd name="connsiteX10" fmla="*/ 0 w 12779"/>
                <a:gd name="connsiteY10" fmla="*/ 6384 h 12767"/>
                <a:gd name="connsiteX11" fmla="*/ 6390 w 12779"/>
                <a:gd name="connsiteY11" fmla="*/ 12768 h 12767"/>
                <a:gd name="connsiteX12" fmla="*/ 6390 w 12779"/>
                <a:gd name="connsiteY12"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67">
                  <a:moveTo>
                    <a:pt x="6390" y="12768"/>
                  </a:moveTo>
                  <a:cubicBezTo>
                    <a:pt x="8307" y="12768"/>
                    <a:pt x="9585" y="12130"/>
                    <a:pt x="10863" y="10853"/>
                  </a:cubicBezTo>
                  <a:cubicBezTo>
                    <a:pt x="11502" y="10214"/>
                    <a:pt x="12141" y="9576"/>
                    <a:pt x="12141" y="8938"/>
                  </a:cubicBezTo>
                  <a:cubicBezTo>
                    <a:pt x="12141" y="8299"/>
                    <a:pt x="12780" y="7661"/>
                    <a:pt x="12780" y="6384"/>
                  </a:cubicBezTo>
                  <a:cubicBezTo>
                    <a:pt x="12780" y="5746"/>
                    <a:pt x="12780" y="4469"/>
                    <a:pt x="12141" y="3830"/>
                  </a:cubicBezTo>
                  <a:cubicBezTo>
                    <a:pt x="11502" y="3192"/>
                    <a:pt x="11502" y="2554"/>
                    <a:pt x="10863" y="1915"/>
                  </a:cubicBezTo>
                  <a:cubicBezTo>
                    <a:pt x="9585" y="638"/>
                    <a:pt x="7029" y="0"/>
                    <a:pt x="5112" y="0"/>
                  </a:cubicBezTo>
                  <a:lnTo>
                    <a:pt x="3834" y="638"/>
                  </a:lnTo>
                  <a:cubicBezTo>
                    <a:pt x="3195" y="1277"/>
                    <a:pt x="2556" y="1277"/>
                    <a:pt x="1917" y="1915"/>
                  </a:cubicBezTo>
                  <a:cubicBezTo>
                    <a:pt x="1278" y="2554"/>
                    <a:pt x="639" y="3192"/>
                    <a:pt x="639" y="3830"/>
                  </a:cubicBezTo>
                  <a:cubicBezTo>
                    <a:pt x="0" y="4469"/>
                    <a:pt x="0" y="5746"/>
                    <a:pt x="0" y="6384"/>
                  </a:cubicBezTo>
                  <a:cubicBezTo>
                    <a:pt x="0" y="10214"/>
                    <a:pt x="2556" y="12768"/>
                    <a:pt x="6390" y="12768"/>
                  </a:cubicBezTo>
                  <a:lnTo>
                    <a:pt x="6390" y="12768"/>
                  </a:lnTo>
                  <a:close/>
                </a:path>
              </a:pathLst>
            </a:custGeom>
            <a:grpFill/>
            <a:ln w="6390" cap="flat">
              <a:noFill/>
              <a:prstDash val="solid"/>
              <a:miter/>
            </a:ln>
          </p:spPr>
          <p:txBody>
            <a:bodyPr rtlCol="0" anchor="ctr"/>
            <a:lstStyle/>
            <a:p>
              <a:endParaRPr lang="en-US" dirty="0"/>
            </a:p>
          </p:txBody>
        </p:sp>
        <p:sp>
          <p:nvSpPr>
            <p:cNvPr id="46" name="Graphic 4">
              <a:extLst>
                <a:ext uri="{FF2B5EF4-FFF2-40B4-BE49-F238E27FC236}">
                  <a16:creationId xmlns:a16="http://schemas.microsoft.com/office/drawing/2014/main" id="{8E4F27AF-82CD-4FFC-A59F-C43613117E74}"/>
                </a:ext>
              </a:extLst>
            </p:cNvPr>
            <p:cNvSpPr/>
            <p:nvPr/>
          </p:nvSpPr>
          <p:spPr>
            <a:xfrm>
              <a:off x="568864" y="2545430"/>
              <a:ext cx="12460" cy="12793"/>
            </a:xfrm>
            <a:custGeom>
              <a:avLst/>
              <a:gdLst>
                <a:gd name="connsiteX0" fmla="*/ 1757 w 12460"/>
                <a:gd name="connsiteY0" fmla="*/ 10879 h 12793"/>
                <a:gd name="connsiteX1" fmla="*/ 3674 w 12460"/>
                <a:gd name="connsiteY1" fmla="*/ 12155 h 12793"/>
                <a:gd name="connsiteX2" fmla="*/ 6230 w 12460"/>
                <a:gd name="connsiteY2" fmla="*/ 12794 h 12793"/>
                <a:gd name="connsiteX3" fmla="*/ 8786 w 12460"/>
                <a:gd name="connsiteY3" fmla="*/ 12155 h 12793"/>
                <a:gd name="connsiteX4" fmla="*/ 10703 w 12460"/>
                <a:gd name="connsiteY4" fmla="*/ 10879 h 12793"/>
                <a:gd name="connsiteX5" fmla="*/ 11981 w 12460"/>
                <a:gd name="connsiteY5" fmla="*/ 8963 h 12793"/>
                <a:gd name="connsiteX6" fmla="*/ 11981 w 12460"/>
                <a:gd name="connsiteY6" fmla="*/ 3856 h 12793"/>
                <a:gd name="connsiteX7" fmla="*/ 11342 w 12460"/>
                <a:gd name="connsiteY7" fmla="*/ 2579 h 12793"/>
                <a:gd name="connsiteX8" fmla="*/ 10703 w 12460"/>
                <a:gd name="connsiteY8" fmla="*/ 1941 h 12793"/>
                <a:gd name="connsiteX9" fmla="*/ 3674 w 12460"/>
                <a:gd name="connsiteY9" fmla="*/ 664 h 12793"/>
                <a:gd name="connsiteX10" fmla="*/ 1757 w 12460"/>
                <a:gd name="connsiteY10" fmla="*/ 1941 h 12793"/>
                <a:gd name="connsiteX11" fmla="*/ 1118 w 12460"/>
                <a:gd name="connsiteY11" fmla="*/ 2579 h 12793"/>
                <a:gd name="connsiteX12" fmla="*/ 479 w 12460"/>
                <a:gd name="connsiteY12" fmla="*/ 3856 h 12793"/>
                <a:gd name="connsiteX13" fmla="*/ 479 w 12460"/>
                <a:gd name="connsiteY13" fmla="*/ 8963 h 12793"/>
                <a:gd name="connsiteX14" fmla="*/ 1757 w 12460"/>
                <a:gd name="connsiteY14" fmla="*/ 10879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0" h="12793">
                  <a:moveTo>
                    <a:pt x="1757" y="10879"/>
                  </a:moveTo>
                  <a:cubicBezTo>
                    <a:pt x="2396" y="11517"/>
                    <a:pt x="3035" y="12155"/>
                    <a:pt x="3674" y="12155"/>
                  </a:cubicBezTo>
                  <a:cubicBezTo>
                    <a:pt x="4313" y="12794"/>
                    <a:pt x="4952" y="12794"/>
                    <a:pt x="6230" y="12794"/>
                  </a:cubicBezTo>
                  <a:cubicBezTo>
                    <a:pt x="6869" y="12794"/>
                    <a:pt x="8147" y="12794"/>
                    <a:pt x="8786" y="12155"/>
                  </a:cubicBezTo>
                  <a:cubicBezTo>
                    <a:pt x="9425" y="12155"/>
                    <a:pt x="10064" y="11517"/>
                    <a:pt x="10703" y="10879"/>
                  </a:cubicBezTo>
                  <a:cubicBezTo>
                    <a:pt x="11342" y="10240"/>
                    <a:pt x="11981" y="9602"/>
                    <a:pt x="11981" y="8963"/>
                  </a:cubicBezTo>
                  <a:cubicBezTo>
                    <a:pt x="12620" y="7687"/>
                    <a:pt x="12620" y="5771"/>
                    <a:pt x="11981" y="3856"/>
                  </a:cubicBezTo>
                  <a:cubicBezTo>
                    <a:pt x="11981" y="3218"/>
                    <a:pt x="11342" y="3218"/>
                    <a:pt x="11342" y="2579"/>
                  </a:cubicBezTo>
                  <a:cubicBezTo>
                    <a:pt x="11342" y="1941"/>
                    <a:pt x="10703" y="1941"/>
                    <a:pt x="10703" y="1941"/>
                  </a:cubicBezTo>
                  <a:cubicBezTo>
                    <a:pt x="8786" y="26"/>
                    <a:pt x="6230" y="-613"/>
                    <a:pt x="3674" y="664"/>
                  </a:cubicBezTo>
                  <a:cubicBezTo>
                    <a:pt x="3035" y="1303"/>
                    <a:pt x="2396" y="1303"/>
                    <a:pt x="1757" y="1941"/>
                  </a:cubicBezTo>
                  <a:lnTo>
                    <a:pt x="1118" y="2579"/>
                  </a:lnTo>
                  <a:cubicBezTo>
                    <a:pt x="1118" y="3218"/>
                    <a:pt x="479" y="3218"/>
                    <a:pt x="479" y="3856"/>
                  </a:cubicBezTo>
                  <a:cubicBezTo>
                    <a:pt x="-160" y="5133"/>
                    <a:pt x="-160" y="7048"/>
                    <a:pt x="479" y="8963"/>
                  </a:cubicBezTo>
                  <a:cubicBezTo>
                    <a:pt x="479" y="9602"/>
                    <a:pt x="1118" y="10240"/>
                    <a:pt x="1757" y="10879"/>
                  </a:cubicBezTo>
                  <a:close/>
                </a:path>
              </a:pathLst>
            </a:custGeom>
            <a:grpFill/>
            <a:ln w="6390" cap="flat">
              <a:noFill/>
              <a:prstDash val="solid"/>
              <a:miter/>
            </a:ln>
          </p:spPr>
          <p:txBody>
            <a:bodyPr rtlCol="0" anchor="ctr"/>
            <a:lstStyle/>
            <a:p>
              <a:endParaRPr lang="en-US" dirty="0"/>
            </a:p>
          </p:txBody>
        </p:sp>
        <p:sp>
          <p:nvSpPr>
            <p:cNvPr id="47" name="Graphic 4">
              <a:extLst>
                <a:ext uri="{FF2B5EF4-FFF2-40B4-BE49-F238E27FC236}">
                  <a16:creationId xmlns:a16="http://schemas.microsoft.com/office/drawing/2014/main" id="{C184C7CF-31C1-4917-867F-52762457F790}"/>
                </a:ext>
              </a:extLst>
            </p:cNvPr>
            <p:cNvSpPr/>
            <p:nvPr/>
          </p:nvSpPr>
          <p:spPr>
            <a:xfrm>
              <a:off x="567426" y="2516090"/>
              <a:ext cx="14057" cy="12767"/>
            </a:xfrm>
            <a:custGeom>
              <a:avLst/>
              <a:gdLst>
                <a:gd name="connsiteX0" fmla="*/ 7668 w 14057"/>
                <a:gd name="connsiteY0" fmla="*/ 12768 h 12767"/>
                <a:gd name="connsiteX1" fmla="*/ 10224 w 14057"/>
                <a:gd name="connsiteY1" fmla="*/ 12130 h 12767"/>
                <a:gd name="connsiteX2" fmla="*/ 12141 w 14057"/>
                <a:gd name="connsiteY2" fmla="*/ 10853 h 12767"/>
                <a:gd name="connsiteX3" fmla="*/ 14058 w 14057"/>
                <a:gd name="connsiteY3" fmla="*/ 6384 h 12767"/>
                <a:gd name="connsiteX4" fmla="*/ 12141 w 14057"/>
                <a:gd name="connsiteY4" fmla="*/ 1915 h 12767"/>
                <a:gd name="connsiteX5" fmla="*/ 10863 w 14057"/>
                <a:gd name="connsiteY5" fmla="*/ 1277 h 12767"/>
                <a:gd name="connsiteX6" fmla="*/ 9585 w 14057"/>
                <a:gd name="connsiteY6" fmla="*/ 638 h 12767"/>
                <a:gd name="connsiteX7" fmla="*/ 8307 w 14057"/>
                <a:gd name="connsiteY7" fmla="*/ 0 h 12767"/>
                <a:gd name="connsiteX8" fmla="*/ 5751 w 14057"/>
                <a:gd name="connsiteY8" fmla="*/ 0 h 12767"/>
                <a:gd name="connsiteX9" fmla="*/ 4473 w 14057"/>
                <a:gd name="connsiteY9" fmla="*/ 638 h 12767"/>
                <a:gd name="connsiteX10" fmla="*/ 3195 w 14057"/>
                <a:gd name="connsiteY10" fmla="*/ 1277 h 12767"/>
                <a:gd name="connsiteX11" fmla="*/ 1917 w 14057"/>
                <a:gd name="connsiteY11" fmla="*/ 1915 h 12767"/>
                <a:gd name="connsiteX12" fmla="*/ 639 w 14057"/>
                <a:gd name="connsiteY12" fmla="*/ 3830 h 12767"/>
                <a:gd name="connsiteX13" fmla="*/ 0 w 14057"/>
                <a:gd name="connsiteY13" fmla="*/ 6384 h 12767"/>
                <a:gd name="connsiteX14" fmla="*/ 1917 w 14057"/>
                <a:gd name="connsiteY14" fmla="*/ 10853 h 12767"/>
                <a:gd name="connsiteX15" fmla="*/ 7668 w 14057"/>
                <a:gd name="connsiteY15"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57" h="12767">
                  <a:moveTo>
                    <a:pt x="7668" y="12768"/>
                  </a:moveTo>
                  <a:cubicBezTo>
                    <a:pt x="8307" y="12768"/>
                    <a:pt x="9585" y="12768"/>
                    <a:pt x="10224" y="12130"/>
                  </a:cubicBezTo>
                  <a:cubicBezTo>
                    <a:pt x="10863" y="12130"/>
                    <a:pt x="11502" y="11491"/>
                    <a:pt x="12141" y="10853"/>
                  </a:cubicBezTo>
                  <a:cubicBezTo>
                    <a:pt x="13419" y="9576"/>
                    <a:pt x="14058" y="8299"/>
                    <a:pt x="14058" y="6384"/>
                  </a:cubicBezTo>
                  <a:cubicBezTo>
                    <a:pt x="14058" y="4469"/>
                    <a:pt x="13419" y="3192"/>
                    <a:pt x="12141" y="1915"/>
                  </a:cubicBezTo>
                  <a:lnTo>
                    <a:pt x="10863" y="1277"/>
                  </a:lnTo>
                  <a:lnTo>
                    <a:pt x="9585" y="638"/>
                  </a:lnTo>
                  <a:lnTo>
                    <a:pt x="8307" y="0"/>
                  </a:lnTo>
                  <a:cubicBezTo>
                    <a:pt x="7668" y="0"/>
                    <a:pt x="6390" y="0"/>
                    <a:pt x="5751" y="0"/>
                  </a:cubicBezTo>
                  <a:lnTo>
                    <a:pt x="4473" y="638"/>
                  </a:lnTo>
                  <a:lnTo>
                    <a:pt x="3195" y="1277"/>
                  </a:lnTo>
                  <a:cubicBezTo>
                    <a:pt x="2556" y="1277"/>
                    <a:pt x="2556" y="1915"/>
                    <a:pt x="1917" y="1915"/>
                  </a:cubicBezTo>
                  <a:cubicBezTo>
                    <a:pt x="1278" y="2554"/>
                    <a:pt x="639" y="3192"/>
                    <a:pt x="639" y="3830"/>
                  </a:cubicBezTo>
                  <a:cubicBezTo>
                    <a:pt x="0" y="4469"/>
                    <a:pt x="0" y="5107"/>
                    <a:pt x="0" y="6384"/>
                  </a:cubicBezTo>
                  <a:cubicBezTo>
                    <a:pt x="0" y="8299"/>
                    <a:pt x="639" y="9576"/>
                    <a:pt x="1917" y="10853"/>
                  </a:cubicBezTo>
                  <a:cubicBezTo>
                    <a:pt x="4473" y="12130"/>
                    <a:pt x="5751" y="12768"/>
                    <a:pt x="7668" y="12768"/>
                  </a:cubicBezTo>
                  <a:close/>
                </a:path>
              </a:pathLst>
            </a:custGeom>
            <a:grpFill/>
            <a:ln w="6390" cap="flat">
              <a:noFill/>
              <a:prstDash val="solid"/>
              <a:miter/>
            </a:ln>
          </p:spPr>
          <p:txBody>
            <a:bodyPr rtlCol="0" anchor="ctr"/>
            <a:lstStyle/>
            <a:p>
              <a:endParaRPr lang="en-US" dirty="0"/>
            </a:p>
          </p:txBody>
        </p:sp>
        <p:sp>
          <p:nvSpPr>
            <p:cNvPr id="48" name="Graphic 4">
              <a:extLst>
                <a:ext uri="{FF2B5EF4-FFF2-40B4-BE49-F238E27FC236}">
                  <a16:creationId xmlns:a16="http://schemas.microsoft.com/office/drawing/2014/main" id="{AF73932A-70B4-40C1-B326-B801ABE70187}"/>
                </a:ext>
              </a:extLst>
            </p:cNvPr>
            <p:cNvSpPr/>
            <p:nvPr/>
          </p:nvSpPr>
          <p:spPr>
            <a:xfrm>
              <a:off x="715672" y="2575460"/>
              <a:ext cx="12779" cy="12767"/>
            </a:xfrm>
            <a:custGeom>
              <a:avLst/>
              <a:gdLst>
                <a:gd name="connsiteX0" fmla="*/ 11502 w 12779"/>
                <a:gd name="connsiteY0" fmla="*/ 2554 h 12767"/>
                <a:gd name="connsiteX1" fmla="*/ 10863 w 12779"/>
                <a:gd name="connsiteY1" fmla="*/ 1915 h 12767"/>
                <a:gd name="connsiteX2" fmla="*/ 5112 w 12779"/>
                <a:gd name="connsiteY2" fmla="*/ 0 h 12767"/>
                <a:gd name="connsiteX3" fmla="*/ 3834 w 12779"/>
                <a:gd name="connsiteY3" fmla="*/ 638 h 12767"/>
                <a:gd name="connsiteX4" fmla="*/ 639 w 12779"/>
                <a:gd name="connsiteY4" fmla="*/ 3830 h 12767"/>
                <a:gd name="connsiteX5" fmla="*/ 0 w 12779"/>
                <a:gd name="connsiteY5" fmla="*/ 6384 h 12767"/>
                <a:gd name="connsiteX6" fmla="*/ 639 w 12779"/>
                <a:gd name="connsiteY6" fmla="*/ 8938 h 12767"/>
                <a:gd name="connsiteX7" fmla="*/ 1917 w 12779"/>
                <a:gd name="connsiteY7" fmla="*/ 10853 h 12767"/>
                <a:gd name="connsiteX8" fmla="*/ 6390 w 12779"/>
                <a:gd name="connsiteY8" fmla="*/ 12768 h 12767"/>
                <a:gd name="connsiteX9" fmla="*/ 10863 w 12779"/>
                <a:gd name="connsiteY9" fmla="*/ 10853 h 12767"/>
                <a:gd name="connsiteX10" fmla="*/ 12141 w 12779"/>
                <a:gd name="connsiteY10" fmla="*/ 8938 h 12767"/>
                <a:gd name="connsiteX11" fmla="*/ 12780 w 12779"/>
                <a:gd name="connsiteY11" fmla="*/ 6384 h 12767"/>
                <a:gd name="connsiteX12" fmla="*/ 12141 w 12779"/>
                <a:gd name="connsiteY12" fmla="*/ 3830 h 12767"/>
                <a:gd name="connsiteX13" fmla="*/ 11502 w 12779"/>
                <a:gd name="connsiteY13" fmla="*/ 255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2767">
                  <a:moveTo>
                    <a:pt x="11502" y="2554"/>
                  </a:moveTo>
                  <a:cubicBezTo>
                    <a:pt x="11502" y="1915"/>
                    <a:pt x="10863" y="1915"/>
                    <a:pt x="10863" y="1915"/>
                  </a:cubicBezTo>
                  <a:cubicBezTo>
                    <a:pt x="9585" y="638"/>
                    <a:pt x="7029" y="0"/>
                    <a:pt x="5112" y="0"/>
                  </a:cubicBezTo>
                  <a:lnTo>
                    <a:pt x="3834" y="638"/>
                  </a:lnTo>
                  <a:cubicBezTo>
                    <a:pt x="2556" y="1277"/>
                    <a:pt x="1278" y="2554"/>
                    <a:pt x="639" y="3830"/>
                  </a:cubicBezTo>
                  <a:cubicBezTo>
                    <a:pt x="639" y="4469"/>
                    <a:pt x="0" y="5746"/>
                    <a:pt x="0" y="6384"/>
                  </a:cubicBezTo>
                  <a:cubicBezTo>
                    <a:pt x="0" y="7022"/>
                    <a:pt x="0" y="8299"/>
                    <a:pt x="639" y="8938"/>
                  </a:cubicBezTo>
                  <a:cubicBezTo>
                    <a:pt x="1278" y="9576"/>
                    <a:pt x="1278" y="10214"/>
                    <a:pt x="1917" y="10853"/>
                  </a:cubicBezTo>
                  <a:cubicBezTo>
                    <a:pt x="3195" y="12130"/>
                    <a:pt x="4473" y="12768"/>
                    <a:pt x="6390" y="12768"/>
                  </a:cubicBezTo>
                  <a:cubicBezTo>
                    <a:pt x="8307" y="12768"/>
                    <a:pt x="9585" y="12130"/>
                    <a:pt x="10863" y="10853"/>
                  </a:cubicBezTo>
                  <a:cubicBezTo>
                    <a:pt x="11502" y="10214"/>
                    <a:pt x="12141" y="9576"/>
                    <a:pt x="12141" y="8938"/>
                  </a:cubicBezTo>
                  <a:cubicBezTo>
                    <a:pt x="12780" y="8299"/>
                    <a:pt x="12780" y="7661"/>
                    <a:pt x="12780" y="6384"/>
                  </a:cubicBezTo>
                  <a:cubicBezTo>
                    <a:pt x="12780" y="5746"/>
                    <a:pt x="12780" y="4469"/>
                    <a:pt x="12141" y="3830"/>
                  </a:cubicBezTo>
                  <a:lnTo>
                    <a:pt x="11502" y="2554"/>
                  </a:lnTo>
                  <a:close/>
                </a:path>
              </a:pathLst>
            </a:custGeom>
            <a:grpFill/>
            <a:ln w="6390" cap="flat">
              <a:noFill/>
              <a:prstDash val="solid"/>
              <a:miter/>
            </a:ln>
          </p:spPr>
          <p:txBody>
            <a:bodyPr rtlCol="0" anchor="ctr"/>
            <a:lstStyle/>
            <a:p>
              <a:endParaRPr lang="en-US" dirty="0"/>
            </a:p>
          </p:txBody>
        </p:sp>
        <p:sp>
          <p:nvSpPr>
            <p:cNvPr id="49" name="Graphic 4">
              <a:extLst>
                <a:ext uri="{FF2B5EF4-FFF2-40B4-BE49-F238E27FC236}">
                  <a16:creationId xmlns:a16="http://schemas.microsoft.com/office/drawing/2014/main" id="{67689233-1593-4601-84EB-A2DA18DCD76D}"/>
                </a:ext>
              </a:extLst>
            </p:cNvPr>
            <p:cNvSpPr/>
            <p:nvPr/>
          </p:nvSpPr>
          <p:spPr>
            <a:xfrm>
              <a:off x="715193" y="2545216"/>
              <a:ext cx="13259" cy="13007"/>
            </a:xfrm>
            <a:custGeom>
              <a:avLst/>
              <a:gdLst>
                <a:gd name="connsiteX0" fmla="*/ 2396 w 13259"/>
                <a:gd name="connsiteY0" fmla="*/ 11092 h 13007"/>
                <a:gd name="connsiteX1" fmla="*/ 4313 w 13259"/>
                <a:gd name="connsiteY1" fmla="*/ 12369 h 13007"/>
                <a:gd name="connsiteX2" fmla="*/ 6869 w 13259"/>
                <a:gd name="connsiteY2" fmla="*/ 13007 h 13007"/>
                <a:gd name="connsiteX3" fmla="*/ 13259 w 13259"/>
                <a:gd name="connsiteY3" fmla="*/ 6623 h 13007"/>
                <a:gd name="connsiteX4" fmla="*/ 12620 w 13259"/>
                <a:gd name="connsiteY4" fmla="*/ 4070 h 13007"/>
                <a:gd name="connsiteX5" fmla="*/ 11342 w 13259"/>
                <a:gd name="connsiteY5" fmla="*/ 2155 h 13007"/>
                <a:gd name="connsiteX6" fmla="*/ 10064 w 13259"/>
                <a:gd name="connsiteY6" fmla="*/ 1516 h 13007"/>
                <a:gd name="connsiteX7" fmla="*/ 8786 w 13259"/>
                <a:gd name="connsiteY7" fmla="*/ 878 h 13007"/>
                <a:gd name="connsiteX8" fmla="*/ 7508 w 13259"/>
                <a:gd name="connsiteY8" fmla="*/ 239 h 13007"/>
                <a:gd name="connsiteX9" fmla="*/ 1757 w 13259"/>
                <a:gd name="connsiteY9" fmla="*/ 2155 h 13007"/>
                <a:gd name="connsiteX10" fmla="*/ 479 w 13259"/>
                <a:gd name="connsiteY10" fmla="*/ 4070 h 13007"/>
                <a:gd name="connsiteX11" fmla="*/ 479 w 13259"/>
                <a:gd name="connsiteY11" fmla="*/ 9177 h 13007"/>
                <a:gd name="connsiteX12" fmla="*/ 2396 w 13259"/>
                <a:gd name="connsiteY12"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9" h="13007">
                  <a:moveTo>
                    <a:pt x="2396" y="11092"/>
                  </a:moveTo>
                  <a:cubicBezTo>
                    <a:pt x="3035" y="11731"/>
                    <a:pt x="3674" y="12369"/>
                    <a:pt x="4313" y="12369"/>
                  </a:cubicBezTo>
                  <a:cubicBezTo>
                    <a:pt x="4952" y="13007"/>
                    <a:pt x="6230" y="13007"/>
                    <a:pt x="6869" y="13007"/>
                  </a:cubicBezTo>
                  <a:cubicBezTo>
                    <a:pt x="10703" y="13007"/>
                    <a:pt x="13259" y="9815"/>
                    <a:pt x="13259" y="6623"/>
                  </a:cubicBezTo>
                  <a:cubicBezTo>
                    <a:pt x="13259" y="5985"/>
                    <a:pt x="13259" y="4708"/>
                    <a:pt x="12620" y="4070"/>
                  </a:cubicBezTo>
                  <a:cubicBezTo>
                    <a:pt x="11981" y="3431"/>
                    <a:pt x="11981" y="2793"/>
                    <a:pt x="11342" y="2155"/>
                  </a:cubicBezTo>
                  <a:lnTo>
                    <a:pt x="10064" y="1516"/>
                  </a:lnTo>
                  <a:cubicBezTo>
                    <a:pt x="9425" y="1516"/>
                    <a:pt x="9425" y="878"/>
                    <a:pt x="8786" y="878"/>
                  </a:cubicBezTo>
                  <a:cubicBezTo>
                    <a:pt x="8147" y="878"/>
                    <a:pt x="8147" y="239"/>
                    <a:pt x="7508" y="239"/>
                  </a:cubicBezTo>
                  <a:cubicBezTo>
                    <a:pt x="5591" y="-399"/>
                    <a:pt x="3035" y="239"/>
                    <a:pt x="1757" y="2155"/>
                  </a:cubicBezTo>
                  <a:cubicBezTo>
                    <a:pt x="1118" y="2793"/>
                    <a:pt x="479" y="3431"/>
                    <a:pt x="479" y="4070"/>
                  </a:cubicBezTo>
                  <a:cubicBezTo>
                    <a:pt x="-160" y="5347"/>
                    <a:pt x="-160" y="7262"/>
                    <a:pt x="479" y="9177"/>
                  </a:cubicBezTo>
                  <a:cubicBezTo>
                    <a:pt x="1118" y="9815"/>
                    <a:pt x="1757" y="10454"/>
                    <a:pt x="2396" y="11092"/>
                  </a:cubicBezTo>
                  <a:close/>
                </a:path>
              </a:pathLst>
            </a:custGeom>
            <a:grpFill/>
            <a:ln w="6390" cap="flat">
              <a:noFill/>
              <a:prstDash val="solid"/>
              <a:miter/>
            </a:ln>
          </p:spPr>
          <p:txBody>
            <a:bodyPr rtlCol="0" anchor="ctr"/>
            <a:lstStyle/>
            <a:p>
              <a:endParaRPr lang="en-US" dirty="0"/>
            </a:p>
          </p:txBody>
        </p:sp>
        <p:sp>
          <p:nvSpPr>
            <p:cNvPr id="50" name="Graphic 4">
              <a:extLst>
                <a:ext uri="{FF2B5EF4-FFF2-40B4-BE49-F238E27FC236}">
                  <a16:creationId xmlns:a16="http://schemas.microsoft.com/office/drawing/2014/main" id="{5CE39983-AF18-4AF7-BA45-FB481287524E}"/>
                </a:ext>
              </a:extLst>
            </p:cNvPr>
            <p:cNvSpPr/>
            <p:nvPr/>
          </p:nvSpPr>
          <p:spPr>
            <a:xfrm>
              <a:off x="715672" y="2516249"/>
              <a:ext cx="12779" cy="12608"/>
            </a:xfrm>
            <a:custGeom>
              <a:avLst/>
              <a:gdLst>
                <a:gd name="connsiteX0" fmla="*/ 1917 w 12779"/>
                <a:gd name="connsiteY0" fmla="*/ 10693 h 12608"/>
                <a:gd name="connsiteX1" fmla="*/ 10863 w 12779"/>
                <a:gd name="connsiteY1" fmla="*/ 10693 h 12608"/>
                <a:gd name="connsiteX2" fmla="*/ 12780 w 12779"/>
                <a:gd name="connsiteY2" fmla="*/ 6224 h 12608"/>
                <a:gd name="connsiteX3" fmla="*/ 12141 w 12779"/>
                <a:gd name="connsiteY3" fmla="*/ 3671 h 12608"/>
                <a:gd name="connsiteX4" fmla="*/ 8946 w 12779"/>
                <a:gd name="connsiteY4" fmla="*/ 479 h 12608"/>
                <a:gd name="connsiteX5" fmla="*/ 3834 w 12779"/>
                <a:gd name="connsiteY5" fmla="*/ 479 h 12608"/>
                <a:gd name="connsiteX6" fmla="*/ 1917 w 12779"/>
                <a:gd name="connsiteY6" fmla="*/ 1756 h 12608"/>
                <a:gd name="connsiteX7" fmla="*/ 639 w 12779"/>
                <a:gd name="connsiteY7" fmla="*/ 3671 h 12608"/>
                <a:gd name="connsiteX8" fmla="*/ 0 w 12779"/>
                <a:gd name="connsiteY8" fmla="*/ 6224 h 12608"/>
                <a:gd name="connsiteX9" fmla="*/ 1917 w 12779"/>
                <a:gd name="connsiteY9" fmla="*/ 10693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608">
                  <a:moveTo>
                    <a:pt x="1917" y="10693"/>
                  </a:moveTo>
                  <a:cubicBezTo>
                    <a:pt x="4473" y="13247"/>
                    <a:pt x="8307" y="13247"/>
                    <a:pt x="10863" y="10693"/>
                  </a:cubicBezTo>
                  <a:cubicBezTo>
                    <a:pt x="12141" y="9416"/>
                    <a:pt x="12780" y="8139"/>
                    <a:pt x="12780" y="6224"/>
                  </a:cubicBezTo>
                  <a:cubicBezTo>
                    <a:pt x="12780" y="5586"/>
                    <a:pt x="12780" y="4309"/>
                    <a:pt x="12141" y="3671"/>
                  </a:cubicBezTo>
                  <a:cubicBezTo>
                    <a:pt x="11502" y="2394"/>
                    <a:pt x="10224" y="1117"/>
                    <a:pt x="8946" y="479"/>
                  </a:cubicBezTo>
                  <a:cubicBezTo>
                    <a:pt x="7668" y="-160"/>
                    <a:pt x="5751" y="-160"/>
                    <a:pt x="3834" y="479"/>
                  </a:cubicBezTo>
                  <a:cubicBezTo>
                    <a:pt x="3195" y="479"/>
                    <a:pt x="2556" y="1117"/>
                    <a:pt x="1917" y="1756"/>
                  </a:cubicBezTo>
                  <a:cubicBezTo>
                    <a:pt x="1278" y="2394"/>
                    <a:pt x="639" y="3032"/>
                    <a:pt x="639" y="3671"/>
                  </a:cubicBezTo>
                  <a:cubicBezTo>
                    <a:pt x="0" y="4309"/>
                    <a:pt x="0" y="4947"/>
                    <a:pt x="0" y="6224"/>
                  </a:cubicBezTo>
                  <a:cubicBezTo>
                    <a:pt x="0" y="8139"/>
                    <a:pt x="639" y="9416"/>
                    <a:pt x="1917" y="10693"/>
                  </a:cubicBezTo>
                  <a:close/>
                </a:path>
              </a:pathLst>
            </a:custGeom>
            <a:grpFill/>
            <a:ln w="6390" cap="flat">
              <a:noFill/>
              <a:prstDash val="solid"/>
              <a:miter/>
            </a:ln>
          </p:spPr>
          <p:txBody>
            <a:bodyPr rtlCol="0" anchor="ctr"/>
            <a:lstStyle/>
            <a:p>
              <a:endParaRPr lang="en-US" dirty="0"/>
            </a:p>
          </p:txBody>
        </p:sp>
        <p:sp>
          <p:nvSpPr>
            <p:cNvPr id="51" name="Graphic 4">
              <a:extLst>
                <a:ext uri="{FF2B5EF4-FFF2-40B4-BE49-F238E27FC236}">
                  <a16:creationId xmlns:a16="http://schemas.microsoft.com/office/drawing/2014/main" id="{148C5D87-23AD-4436-8208-9E696C3896D1}"/>
                </a:ext>
              </a:extLst>
            </p:cNvPr>
            <p:cNvSpPr/>
            <p:nvPr/>
          </p:nvSpPr>
          <p:spPr>
            <a:xfrm>
              <a:off x="627491" y="2574583"/>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780 w 12779"/>
                <a:gd name="connsiteY5" fmla="*/ 6623 h 13007"/>
                <a:gd name="connsiteX6" fmla="*/ 12141 w 12779"/>
                <a:gd name="connsiteY6" fmla="*/ 4070 h 13007"/>
                <a:gd name="connsiteX7" fmla="*/ 10863 w 12779"/>
                <a:gd name="connsiteY7" fmla="*/ 2155 h 13007"/>
                <a:gd name="connsiteX8" fmla="*/ 8946 w 12779"/>
                <a:gd name="connsiteY8" fmla="*/ 878 h 13007"/>
                <a:gd name="connsiteX9" fmla="*/ 7668 w 12779"/>
                <a:gd name="connsiteY9" fmla="*/ 239 h 13007"/>
                <a:gd name="connsiteX10" fmla="*/ 1917 w 12779"/>
                <a:gd name="connsiteY10" fmla="*/ 2155 h 13007"/>
                <a:gd name="connsiteX11" fmla="*/ 639 w 12779"/>
                <a:gd name="connsiteY11" fmla="*/ 4070 h 13007"/>
                <a:gd name="connsiteX12" fmla="*/ 0 w 12779"/>
                <a:gd name="connsiteY12" fmla="*/ 6623 h 13007"/>
                <a:gd name="connsiteX13" fmla="*/ 1917 w 12779"/>
                <a:gd name="connsiteY13"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9" h="13007">
                  <a:moveTo>
                    <a:pt x="1917" y="11092"/>
                  </a:moveTo>
                  <a:cubicBezTo>
                    <a:pt x="2556" y="11731"/>
                    <a:pt x="3195" y="12369"/>
                    <a:pt x="3834" y="12369"/>
                  </a:cubicBezTo>
                  <a:cubicBezTo>
                    <a:pt x="4473" y="12369"/>
                    <a:pt x="5112" y="13007"/>
                    <a:pt x="6390" y="13007"/>
                  </a:cubicBezTo>
                  <a:cubicBezTo>
                    <a:pt x="7029" y="13007"/>
                    <a:pt x="8307" y="13007"/>
                    <a:pt x="8946" y="12369"/>
                  </a:cubicBezTo>
                  <a:cubicBezTo>
                    <a:pt x="9585" y="11731"/>
                    <a:pt x="10224" y="11731"/>
                    <a:pt x="10863" y="11092"/>
                  </a:cubicBezTo>
                  <a:cubicBezTo>
                    <a:pt x="12141" y="9815"/>
                    <a:pt x="12780" y="8539"/>
                    <a:pt x="12780" y="6623"/>
                  </a:cubicBezTo>
                  <a:cubicBezTo>
                    <a:pt x="12780" y="5985"/>
                    <a:pt x="12780" y="4708"/>
                    <a:pt x="12141" y="4070"/>
                  </a:cubicBezTo>
                  <a:cubicBezTo>
                    <a:pt x="12141" y="3431"/>
                    <a:pt x="11502" y="2793"/>
                    <a:pt x="10863" y="2155"/>
                  </a:cubicBezTo>
                  <a:cubicBezTo>
                    <a:pt x="10224" y="1516"/>
                    <a:pt x="9585" y="878"/>
                    <a:pt x="8946" y="878"/>
                  </a:cubicBezTo>
                  <a:lnTo>
                    <a:pt x="7668" y="239"/>
                  </a:lnTo>
                  <a:cubicBezTo>
                    <a:pt x="5751" y="-399"/>
                    <a:pt x="3195" y="239"/>
                    <a:pt x="1917" y="2155"/>
                  </a:cubicBezTo>
                  <a:cubicBezTo>
                    <a:pt x="1278" y="2793"/>
                    <a:pt x="639" y="3431"/>
                    <a:pt x="639" y="4070"/>
                  </a:cubicBezTo>
                  <a:cubicBezTo>
                    <a:pt x="0" y="4708"/>
                    <a:pt x="0" y="5985"/>
                    <a:pt x="0" y="6623"/>
                  </a:cubicBezTo>
                  <a:cubicBezTo>
                    <a:pt x="0" y="8539"/>
                    <a:pt x="639" y="10454"/>
                    <a:pt x="1917" y="11092"/>
                  </a:cubicBezTo>
                  <a:close/>
                </a:path>
              </a:pathLst>
            </a:custGeom>
            <a:grpFill/>
            <a:ln w="6390" cap="flat">
              <a:noFill/>
              <a:prstDash val="solid"/>
              <a:miter/>
            </a:ln>
          </p:spPr>
          <p:txBody>
            <a:bodyPr rtlCol="0" anchor="ctr"/>
            <a:lstStyle/>
            <a:p>
              <a:endParaRPr lang="en-US" dirty="0"/>
            </a:p>
          </p:txBody>
        </p:sp>
        <p:sp>
          <p:nvSpPr>
            <p:cNvPr id="52" name="Graphic 4">
              <a:extLst>
                <a:ext uri="{FF2B5EF4-FFF2-40B4-BE49-F238E27FC236}">
                  <a16:creationId xmlns:a16="http://schemas.microsoft.com/office/drawing/2014/main" id="{C1670697-0C6E-42C3-A21E-7E684A09F9A4}"/>
                </a:ext>
              </a:extLst>
            </p:cNvPr>
            <p:cNvSpPr/>
            <p:nvPr/>
          </p:nvSpPr>
          <p:spPr>
            <a:xfrm>
              <a:off x="627012" y="2545216"/>
              <a:ext cx="13259" cy="13007"/>
            </a:xfrm>
            <a:custGeom>
              <a:avLst/>
              <a:gdLst>
                <a:gd name="connsiteX0" fmla="*/ 2396 w 13259"/>
                <a:gd name="connsiteY0" fmla="*/ 11092 h 13007"/>
                <a:gd name="connsiteX1" fmla="*/ 4313 w 13259"/>
                <a:gd name="connsiteY1" fmla="*/ 12369 h 13007"/>
                <a:gd name="connsiteX2" fmla="*/ 6869 w 13259"/>
                <a:gd name="connsiteY2" fmla="*/ 13007 h 13007"/>
                <a:gd name="connsiteX3" fmla="*/ 9425 w 13259"/>
                <a:gd name="connsiteY3" fmla="*/ 12369 h 13007"/>
                <a:gd name="connsiteX4" fmla="*/ 11342 w 13259"/>
                <a:gd name="connsiteY4" fmla="*/ 11092 h 13007"/>
                <a:gd name="connsiteX5" fmla="*/ 13259 w 13259"/>
                <a:gd name="connsiteY5" fmla="*/ 6623 h 13007"/>
                <a:gd name="connsiteX6" fmla="*/ 12620 w 13259"/>
                <a:gd name="connsiteY6" fmla="*/ 4070 h 13007"/>
                <a:gd name="connsiteX7" fmla="*/ 11342 w 13259"/>
                <a:gd name="connsiteY7" fmla="*/ 2155 h 13007"/>
                <a:gd name="connsiteX8" fmla="*/ 10064 w 13259"/>
                <a:gd name="connsiteY8" fmla="*/ 1516 h 13007"/>
                <a:gd name="connsiteX9" fmla="*/ 8786 w 13259"/>
                <a:gd name="connsiteY9" fmla="*/ 878 h 13007"/>
                <a:gd name="connsiteX10" fmla="*/ 7508 w 13259"/>
                <a:gd name="connsiteY10" fmla="*/ 239 h 13007"/>
                <a:gd name="connsiteX11" fmla="*/ 1757 w 13259"/>
                <a:gd name="connsiteY11" fmla="*/ 2155 h 13007"/>
                <a:gd name="connsiteX12" fmla="*/ 479 w 13259"/>
                <a:gd name="connsiteY12" fmla="*/ 4070 h 13007"/>
                <a:gd name="connsiteX13" fmla="*/ 479 w 13259"/>
                <a:gd name="connsiteY13" fmla="*/ 9177 h 13007"/>
                <a:gd name="connsiteX14" fmla="*/ 2396 w 13259"/>
                <a:gd name="connsiteY14"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9" h="13007">
                  <a:moveTo>
                    <a:pt x="2396" y="11092"/>
                  </a:moveTo>
                  <a:cubicBezTo>
                    <a:pt x="3035" y="11731"/>
                    <a:pt x="3674" y="12369"/>
                    <a:pt x="4313" y="12369"/>
                  </a:cubicBezTo>
                  <a:cubicBezTo>
                    <a:pt x="4952" y="13007"/>
                    <a:pt x="5591" y="13007"/>
                    <a:pt x="6869" y="13007"/>
                  </a:cubicBezTo>
                  <a:cubicBezTo>
                    <a:pt x="7508" y="13007"/>
                    <a:pt x="8786" y="13007"/>
                    <a:pt x="9425" y="12369"/>
                  </a:cubicBezTo>
                  <a:cubicBezTo>
                    <a:pt x="10064" y="11731"/>
                    <a:pt x="10703" y="11731"/>
                    <a:pt x="11342" y="11092"/>
                  </a:cubicBezTo>
                  <a:cubicBezTo>
                    <a:pt x="12620" y="9815"/>
                    <a:pt x="13259" y="8539"/>
                    <a:pt x="13259" y="6623"/>
                  </a:cubicBezTo>
                  <a:cubicBezTo>
                    <a:pt x="13259" y="5985"/>
                    <a:pt x="13259" y="4708"/>
                    <a:pt x="12620" y="4070"/>
                  </a:cubicBezTo>
                  <a:cubicBezTo>
                    <a:pt x="12620" y="3431"/>
                    <a:pt x="11981" y="2793"/>
                    <a:pt x="11342" y="2155"/>
                  </a:cubicBezTo>
                  <a:lnTo>
                    <a:pt x="10064" y="1516"/>
                  </a:lnTo>
                  <a:lnTo>
                    <a:pt x="8786" y="878"/>
                  </a:lnTo>
                  <a:lnTo>
                    <a:pt x="7508" y="239"/>
                  </a:lnTo>
                  <a:cubicBezTo>
                    <a:pt x="5591" y="-399"/>
                    <a:pt x="3035" y="239"/>
                    <a:pt x="1757" y="2155"/>
                  </a:cubicBezTo>
                  <a:cubicBezTo>
                    <a:pt x="1118" y="2793"/>
                    <a:pt x="479" y="3431"/>
                    <a:pt x="479" y="4070"/>
                  </a:cubicBezTo>
                  <a:cubicBezTo>
                    <a:pt x="-160" y="5347"/>
                    <a:pt x="-160" y="7262"/>
                    <a:pt x="479" y="9177"/>
                  </a:cubicBezTo>
                  <a:cubicBezTo>
                    <a:pt x="1118" y="9815"/>
                    <a:pt x="1757" y="10454"/>
                    <a:pt x="2396" y="11092"/>
                  </a:cubicBezTo>
                  <a:close/>
                </a:path>
              </a:pathLst>
            </a:custGeom>
            <a:grpFill/>
            <a:ln w="6390" cap="flat">
              <a:noFill/>
              <a:prstDash val="solid"/>
              <a:miter/>
            </a:ln>
          </p:spPr>
          <p:txBody>
            <a:bodyPr rtlCol="0" anchor="ctr"/>
            <a:lstStyle/>
            <a:p>
              <a:endParaRPr lang="en-US" dirty="0"/>
            </a:p>
          </p:txBody>
        </p:sp>
        <p:sp>
          <p:nvSpPr>
            <p:cNvPr id="53" name="Graphic 4">
              <a:extLst>
                <a:ext uri="{FF2B5EF4-FFF2-40B4-BE49-F238E27FC236}">
                  <a16:creationId xmlns:a16="http://schemas.microsoft.com/office/drawing/2014/main" id="{C53DEB20-F1D3-4AC2-9949-BEE856C94C88}"/>
                </a:ext>
              </a:extLst>
            </p:cNvPr>
            <p:cNvSpPr/>
            <p:nvPr/>
          </p:nvSpPr>
          <p:spPr>
            <a:xfrm>
              <a:off x="627491" y="2516249"/>
              <a:ext cx="12779" cy="12608"/>
            </a:xfrm>
            <a:custGeom>
              <a:avLst/>
              <a:gdLst>
                <a:gd name="connsiteX0" fmla="*/ 6390 w 12779"/>
                <a:gd name="connsiteY0" fmla="*/ 12608 h 12608"/>
                <a:gd name="connsiteX1" fmla="*/ 12780 w 12779"/>
                <a:gd name="connsiteY1" fmla="*/ 6224 h 12608"/>
                <a:gd name="connsiteX2" fmla="*/ 10863 w 12779"/>
                <a:gd name="connsiteY2" fmla="*/ 1756 h 12608"/>
                <a:gd name="connsiteX3" fmla="*/ 8946 w 12779"/>
                <a:gd name="connsiteY3" fmla="*/ 479 h 12608"/>
                <a:gd name="connsiteX4" fmla="*/ 3834 w 12779"/>
                <a:gd name="connsiteY4" fmla="*/ 479 h 12608"/>
                <a:gd name="connsiteX5" fmla="*/ 639 w 12779"/>
                <a:gd name="connsiteY5" fmla="*/ 3671 h 12608"/>
                <a:gd name="connsiteX6" fmla="*/ 0 w 12779"/>
                <a:gd name="connsiteY6" fmla="*/ 6224 h 12608"/>
                <a:gd name="connsiteX7" fmla="*/ 1917 w 12779"/>
                <a:gd name="connsiteY7" fmla="*/ 10693 h 12608"/>
                <a:gd name="connsiteX8" fmla="*/ 6390 w 12779"/>
                <a:gd name="connsiteY8" fmla="*/ 12608 h 1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9" h="12608">
                  <a:moveTo>
                    <a:pt x="6390" y="12608"/>
                  </a:moveTo>
                  <a:cubicBezTo>
                    <a:pt x="10224" y="12608"/>
                    <a:pt x="12780" y="10055"/>
                    <a:pt x="12780" y="6224"/>
                  </a:cubicBezTo>
                  <a:cubicBezTo>
                    <a:pt x="12780" y="4309"/>
                    <a:pt x="12141" y="3032"/>
                    <a:pt x="10863" y="1756"/>
                  </a:cubicBezTo>
                  <a:cubicBezTo>
                    <a:pt x="10224" y="1117"/>
                    <a:pt x="9585" y="479"/>
                    <a:pt x="8946" y="479"/>
                  </a:cubicBezTo>
                  <a:cubicBezTo>
                    <a:pt x="7668" y="-160"/>
                    <a:pt x="5751" y="-160"/>
                    <a:pt x="3834" y="479"/>
                  </a:cubicBezTo>
                  <a:cubicBezTo>
                    <a:pt x="2556" y="1117"/>
                    <a:pt x="1278" y="2394"/>
                    <a:pt x="639" y="3671"/>
                  </a:cubicBezTo>
                  <a:cubicBezTo>
                    <a:pt x="0" y="4309"/>
                    <a:pt x="0" y="4947"/>
                    <a:pt x="0" y="6224"/>
                  </a:cubicBezTo>
                  <a:cubicBezTo>
                    <a:pt x="0" y="8139"/>
                    <a:pt x="639" y="9416"/>
                    <a:pt x="1917" y="10693"/>
                  </a:cubicBezTo>
                  <a:cubicBezTo>
                    <a:pt x="3195" y="11970"/>
                    <a:pt x="4473" y="12608"/>
                    <a:pt x="6390" y="12608"/>
                  </a:cubicBezTo>
                  <a:close/>
                </a:path>
              </a:pathLst>
            </a:custGeom>
            <a:grpFill/>
            <a:ln w="6390" cap="flat">
              <a:noFill/>
              <a:prstDash val="solid"/>
              <a:miter/>
            </a:ln>
          </p:spPr>
          <p:txBody>
            <a:bodyPr rtlCol="0" anchor="ctr"/>
            <a:lstStyle/>
            <a:p>
              <a:endParaRPr lang="en-US" dirty="0"/>
            </a:p>
          </p:txBody>
        </p:sp>
        <p:sp>
          <p:nvSpPr>
            <p:cNvPr id="54" name="Graphic 4">
              <a:extLst>
                <a:ext uri="{FF2B5EF4-FFF2-40B4-BE49-F238E27FC236}">
                  <a16:creationId xmlns:a16="http://schemas.microsoft.com/office/drawing/2014/main" id="{CFE95C51-D280-46BD-BEA0-889E4E23FAAB}"/>
                </a:ext>
              </a:extLst>
            </p:cNvPr>
            <p:cNvSpPr/>
            <p:nvPr/>
          </p:nvSpPr>
          <p:spPr>
            <a:xfrm>
              <a:off x="626187" y="2487362"/>
              <a:ext cx="14083" cy="12618"/>
            </a:xfrm>
            <a:custGeom>
              <a:avLst/>
              <a:gdLst>
                <a:gd name="connsiteX0" fmla="*/ 5138 w 14083"/>
                <a:gd name="connsiteY0" fmla="*/ 12130 h 12618"/>
                <a:gd name="connsiteX1" fmla="*/ 13445 w 14083"/>
                <a:gd name="connsiteY1" fmla="*/ 8938 h 12618"/>
                <a:gd name="connsiteX2" fmla="*/ 14084 w 14083"/>
                <a:gd name="connsiteY2" fmla="*/ 6384 h 12618"/>
                <a:gd name="connsiteX3" fmla="*/ 12167 w 14083"/>
                <a:gd name="connsiteY3" fmla="*/ 1915 h 12618"/>
                <a:gd name="connsiteX4" fmla="*/ 10889 w 14083"/>
                <a:gd name="connsiteY4" fmla="*/ 1277 h 12618"/>
                <a:gd name="connsiteX5" fmla="*/ 9611 w 14083"/>
                <a:gd name="connsiteY5" fmla="*/ 638 h 12618"/>
                <a:gd name="connsiteX6" fmla="*/ 8333 w 14083"/>
                <a:gd name="connsiteY6" fmla="*/ 0 h 12618"/>
                <a:gd name="connsiteX7" fmla="*/ 5777 w 14083"/>
                <a:gd name="connsiteY7" fmla="*/ 0 h 12618"/>
                <a:gd name="connsiteX8" fmla="*/ 4499 w 14083"/>
                <a:gd name="connsiteY8" fmla="*/ 638 h 12618"/>
                <a:gd name="connsiteX9" fmla="*/ 3221 w 14083"/>
                <a:gd name="connsiteY9" fmla="*/ 1277 h 12618"/>
                <a:gd name="connsiteX10" fmla="*/ 1943 w 14083"/>
                <a:gd name="connsiteY10" fmla="*/ 1915 h 12618"/>
                <a:gd name="connsiteX11" fmla="*/ 665 w 14083"/>
                <a:gd name="connsiteY11" fmla="*/ 3830 h 12618"/>
                <a:gd name="connsiteX12" fmla="*/ 1943 w 14083"/>
                <a:gd name="connsiteY12" fmla="*/ 10853 h 12618"/>
                <a:gd name="connsiteX13" fmla="*/ 5138 w 14083"/>
                <a:gd name="connsiteY13" fmla="*/ 12130 h 12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83" h="12618">
                  <a:moveTo>
                    <a:pt x="5138" y="12130"/>
                  </a:moveTo>
                  <a:cubicBezTo>
                    <a:pt x="8333" y="13406"/>
                    <a:pt x="12167" y="12130"/>
                    <a:pt x="13445" y="8938"/>
                  </a:cubicBezTo>
                  <a:cubicBezTo>
                    <a:pt x="14084" y="8299"/>
                    <a:pt x="14084" y="7022"/>
                    <a:pt x="14084" y="6384"/>
                  </a:cubicBezTo>
                  <a:cubicBezTo>
                    <a:pt x="14084" y="4469"/>
                    <a:pt x="13445" y="3192"/>
                    <a:pt x="12167" y="1915"/>
                  </a:cubicBezTo>
                  <a:lnTo>
                    <a:pt x="10889" y="1277"/>
                  </a:lnTo>
                  <a:lnTo>
                    <a:pt x="9611" y="638"/>
                  </a:lnTo>
                  <a:lnTo>
                    <a:pt x="8333" y="0"/>
                  </a:lnTo>
                  <a:cubicBezTo>
                    <a:pt x="7694" y="0"/>
                    <a:pt x="6416" y="0"/>
                    <a:pt x="5777" y="0"/>
                  </a:cubicBezTo>
                  <a:cubicBezTo>
                    <a:pt x="5138" y="0"/>
                    <a:pt x="5138" y="0"/>
                    <a:pt x="4499" y="638"/>
                  </a:cubicBezTo>
                  <a:cubicBezTo>
                    <a:pt x="3860" y="638"/>
                    <a:pt x="3860" y="1277"/>
                    <a:pt x="3221" y="1277"/>
                  </a:cubicBezTo>
                  <a:cubicBezTo>
                    <a:pt x="2582" y="1277"/>
                    <a:pt x="2582" y="1915"/>
                    <a:pt x="1943" y="1915"/>
                  </a:cubicBezTo>
                  <a:cubicBezTo>
                    <a:pt x="1304" y="2554"/>
                    <a:pt x="665" y="3192"/>
                    <a:pt x="665" y="3830"/>
                  </a:cubicBezTo>
                  <a:cubicBezTo>
                    <a:pt x="-613" y="6384"/>
                    <a:pt x="26" y="8938"/>
                    <a:pt x="1943" y="10853"/>
                  </a:cubicBezTo>
                  <a:cubicBezTo>
                    <a:pt x="3860" y="10853"/>
                    <a:pt x="4499" y="11491"/>
                    <a:pt x="5138" y="12130"/>
                  </a:cubicBezTo>
                  <a:close/>
                </a:path>
              </a:pathLst>
            </a:custGeom>
            <a:grpFill/>
            <a:ln w="6390" cap="flat">
              <a:noFill/>
              <a:prstDash val="solid"/>
              <a:miter/>
            </a:ln>
          </p:spPr>
          <p:txBody>
            <a:bodyPr rtlCol="0" anchor="ctr"/>
            <a:lstStyle/>
            <a:p>
              <a:endParaRPr lang="en-US" dirty="0"/>
            </a:p>
          </p:txBody>
        </p:sp>
        <p:sp>
          <p:nvSpPr>
            <p:cNvPr id="55" name="Graphic 4">
              <a:extLst>
                <a:ext uri="{FF2B5EF4-FFF2-40B4-BE49-F238E27FC236}">
                  <a16:creationId xmlns:a16="http://schemas.microsoft.com/office/drawing/2014/main" id="{FD0BCD9E-5119-455A-A942-7F3E259CBBF7}"/>
                </a:ext>
              </a:extLst>
            </p:cNvPr>
            <p:cNvSpPr/>
            <p:nvPr/>
          </p:nvSpPr>
          <p:spPr>
            <a:xfrm>
              <a:off x="656885" y="2574583"/>
              <a:ext cx="12779" cy="13007"/>
            </a:xfrm>
            <a:custGeom>
              <a:avLst/>
              <a:gdLst>
                <a:gd name="connsiteX0" fmla="*/ 1917 w 12779"/>
                <a:gd name="connsiteY0" fmla="*/ 11092 h 13007"/>
                <a:gd name="connsiteX1" fmla="*/ 3834 w 12779"/>
                <a:gd name="connsiteY1" fmla="*/ 12369 h 13007"/>
                <a:gd name="connsiteX2" fmla="*/ 6390 w 12779"/>
                <a:gd name="connsiteY2" fmla="*/ 13007 h 13007"/>
                <a:gd name="connsiteX3" fmla="*/ 8946 w 12779"/>
                <a:gd name="connsiteY3" fmla="*/ 12369 h 13007"/>
                <a:gd name="connsiteX4" fmla="*/ 10863 w 12779"/>
                <a:gd name="connsiteY4" fmla="*/ 11092 h 13007"/>
                <a:gd name="connsiteX5" fmla="*/ 12780 w 12779"/>
                <a:gd name="connsiteY5" fmla="*/ 6623 h 13007"/>
                <a:gd name="connsiteX6" fmla="*/ 12141 w 12779"/>
                <a:gd name="connsiteY6" fmla="*/ 4070 h 13007"/>
                <a:gd name="connsiteX7" fmla="*/ 10863 w 12779"/>
                <a:gd name="connsiteY7" fmla="*/ 2155 h 13007"/>
                <a:gd name="connsiteX8" fmla="*/ 8946 w 12779"/>
                <a:gd name="connsiteY8" fmla="*/ 878 h 13007"/>
                <a:gd name="connsiteX9" fmla="*/ 7668 w 12779"/>
                <a:gd name="connsiteY9" fmla="*/ 239 h 13007"/>
                <a:gd name="connsiteX10" fmla="*/ 1917 w 12779"/>
                <a:gd name="connsiteY10" fmla="*/ 2155 h 13007"/>
                <a:gd name="connsiteX11" fmla="*/ 639 w 12779"/>
                <a:gd name="connsiteY11" fmla="*/ 4070 h 13007"/>
                <a:gd name="connsiteX12" fmla="*/ 0 w 12779"/>
                <a:gd name="connsiteY12" fmla="*/ 6623 h 13007"/>
                <a:gd name="connsiteX13" fmla="*/ 639 w 12779"/>
                <a:gd name="connsiteY13" fmla="*/ 9177 h 13007"/>
                <a:gd name="connsiteX14" fmla="*/ 1917 w 12779"/>
                <a:gd name="connsiteY14"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79" h="13007">
                  <a:moveTo>
                    <a:pt x="1917" y="11092"/>
                  </a:moveTo>
                  <a:cubicBezTo>
                    <a:pt x="2556" y="11731"/>
                    <a:pt x="3195" y="12369"/>
                    <a:pt x="3834" y="12369"/>
                  </a:cubicBezTo>
                  <a:cubicBezTo>
                    <a:pt x="4473" y="12369"/>
                    <a:pt x="5751" y="13007"/>
                    <a:pt x="6390" y="13007"/>
                  </a:cubicBezTo>
                  <a:cubicBezTo>
                    <a:pt x="7029" y="13007"/>
                    <a:pt x="8307" y="13007"/>
                    <a:pt x="8946" y="12369"/>
                  </a:cubicBezTo>
                  <a:cubicBezTo>
                    <a:pt x="9585" y="12369"/>
                    <a:pt x="10224" y="11731"/>
                    <a:pt x="10863" y="11092"/>
                  </a:cubicBezTo>
                  <a:cubicBezTo>
                    <a:pt x="12141" y="9815"/>
                    <a:pt x="12780" y="8539"/>
                    <a:pt x="12780" y="6623"/>
                  </a:cubicBezTo>
                  <a:cubicBezTo>
                    <a:pt x="12780" y="5985"/>
                    <a:pt x="12780" y="4708"/>
                    <a:pt x="12141" y="4070"/>
                  </a:cubicBezTo>
                  <a:cubicBezTo>
                    <a:pt x="12141" y="3431"/>
                    <a:pt x="11502" y="2793"/>
                    <a:pt x="10863" y="2155"/>
                  </a:cubicBezTo>
                  <a:cubicBezTo>
                    <a:pt x="10224" y="1516"/>
                    <a:pt x="9585" y="878"/>
                    <a:pt x="8946" y="878"/>
                  </a:cubicBezTo>
                  <a:lnTo>
                    <a:pt x="7668" y="239"/>
                  </a:lnTo>
                  <a:cubicBezTo>
                    <a:pt x="5751" y="-399"/>
                    <a:pt x="3195" y="239"/>
                    <a:pt x="1917" y="2155"/>
                  </a:cubicBezTo>
                  <a:cubicBezTo>
                    <a:pt x="1278" y="2793"/>
                    <a:pt x="639" y="3431"/>
                    <a:pt x="639" y="4070"/>
                  </a:cubicBezTo>
                  <a:cubicBezTo>
                    <a:pt x="639" y="4708"/>
                    <a:pt x="0" y="5985"/>
                    <a:pt x="0" y="6623"/>
                  </a:cubicBezTo>
                  <a:cubicBezTo>
                    <a:pt x="0" y="7262"/>
                    <a:pt x="0" y="8539"/>
                    <a:pt x="639" y="9177"/>
                  </a:cubicBezTo>
                  <a:cubicBezTo>
                    <a:pt x="639" y="9815"/>
                    <a:pt x="1278" y="10454"/>
                    <a:pt x="1917" y="11092"/>
                  </a:cubicBezTo>
                  <a:close/>
                </a:path>
              </a:pathLst>
            </a:custGeom>
            <a:grpFill/>
            <a:ln w="6390" cap="flat">
              <a:noFill/>
              <a:prstDash val="solid"/>
              <a:miter/>
            </a:ln>
          </p:spPr>
          <p:txBody>
            <a:bodyPr rtlCol="0" anchor="ctr"/>
            <a:lstStyle/>
            <a:p>
              <a:endParaRPr lang="en-US" dirty="0"/>
            </a:p>
          </p:txBody>
        </p:sp>
        <p:sp>
          <p:nvSpPr>
            <p:cNvPr id="56" name="Graphic 4">
              <a:extLst>
                <a:ext uri="{FF2B5EF4-FFF2-40B4-BE49-F238E27FC236}">
                  <a16:creationId xmlns:a16="http://schemas.microsoft.com/office/drawing/2014/main" id="{558F512B-B2F3-40D9-90B8-28DA12B62FB4}"/>
                </a:ext>
              </a:extLst>
            </p:cNvPr>
            <p:cNvSpPr/>
            <p:nvPr/>
          </p:nvSpPr>
          <p:spPr>
            <a:xfrm>
              <a:off x="656246" y="2604188"/>
              <a:ext cx="13418" cy="12767"/>
            </a:xfrm>
            <a:custGeom>
              <a:avLst/>
              <a:gdLst>
                <a:gd name="connsiteX0" fmla="*/ 7029 w 13418"/>
                <a:gd name="connsiteY0" fmla="*/ 12768 h 12767"/>
                <a:gd name="connsiteX1" fmla="*/ 11502 w 13418"/>
                <a:gd name="connsiteY1" fmla="*/ 10853 h 12767"/>
                <a:gd name="connsiteX2" fmla="*/ 11502 w 13418"/>
                <a:gd name="connsiteY2" fmla="*/ 1915 h 12767"/>
                <a:gd name="connsiteX3" fmla="*/ 11502 w 13418"/>
                <a:gd name="connsiteY3" fmla="*/ 1915 h 12767"/>
                <a:gd name="connsiteX4" fmla="*/ 10224 w 13418"/>
                <a:gd name="connsiteY4" fmla="*/ 1277 h 12767"/>
                <a:gd name="connsiteX5" fmla="*/ 8946 w 13418"/>
                <a:gd name="connsiteY5" fmla="*/ 638 h 12767"/>
                <a:gd name="connsiteX6" fmla="*/ 7668 w 13418"/>
                <a:gd name="connsiteY6" fmla="*/ 0 h 12767"/>
                <a:gd name="connsiteX7" fmla="*/ 3834 w 13418"/>
                <a:gd name="connsiteY7" fmla="*/ 638 h 12767"/>
                <a:gd name="connsiteX8" fmla="*/ 1917 w 13418"/>
                <a:gd name="connsiteY8" fmla="*/ 1915 h 12767"/>
                <a:gd name="connsiteX9" fmla="*/ 1917 w 13418"/>
                <a:gd name="connsiteY9" fmla="*/ 10853 h 12767"/>
                <a:gd name="connsiteX10" fmla="*/ 1917 w 13418"/>
                <a:gd name="connsiteY10" fmla="*/ 10853 h 12767"/>
                <a:gd name="connsiteX11" fmla="*/ 7029 w 13418"/>
                <a:gd name="connsiteY11"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18" h="12767">
                  <a:moveTo>
                    <a:pt x="7029" y="12768"/>
                  </a:moveTo>
                  <a:cubicBezTo>
                    <a:pt x="8946" y="12768"/>
                    <a:pt x="10224" y="12130"/>
                    <a:pt x="11502" y="10853"/>
                  </a:cubicBezTo>
                  <a:cubicBezTo>
                    <a:pt x="14058" y="8299"/>
                    <a:pt x="14058" y="4469"/>
                    <a:pt x="11502" y="1915"/>
                  </a:cubicBezTo>
                  <a:cubicBezTo>
                    <a:pt x="11502" y="1915"/>
                    <a:pt x="11502" y="1915"/>
                    <a:pt x="11502" y="1915"/>
                  </a:cubicBezTo>
                  <a:lnTo>
                    <a:pt x="10224" y="1277"/>
                  </a:lnTo>
                  <a:cubicBezTo>
                    <a:pt x="9585" y="1277"/>
                    <a:pt x="9585" y="638"/>
                    <a:pt x="8946" y="638"/>
                  </a:cubicBezTo>
                  <a:cubicBezTo>
                    <a:pt x="8307" y="638"/>
                    <a:pt x="8307" y="0"/>
                    <a:pt x="7668" y="0"/>
                  </a:cubicBezTo>
                  <a:cubicBezTo>
                    <a:pt x="6390" y="0"/>
                    <a:pt x="5112" y="0"/>
                    <a:pt x="3834" y="638"/>
                  </a:cubicBezTo>
                  <a:cubicBezTo>
                    <a:pt x="3195" y="638"/>
                    <a:pt x="2556" y="1277"/>
                    <a:pt x="1917" y="1915"/>
                  </a:cubicBezTo>
                  <a:cubicBezTo>
                    <a:pt x="-639" y="4469"/>
                    <a:pt x="-639" y="8299"/>
                    <a:pt x="1917" y="10853"/>
                  </a:cubicBezTo>
                  <a:cubicBezTo>
                    <a:pt x="1917" y="10853"/>
                    <a:pt x="1917" y="10853"/>
                    <a:pt x="1917" y="10853"/>
                  </a:cubicBezTo>
                  <a:cubicBezTo>
                    <a:pt x="3834" y="12130"/>
                    <a:pt x="5112" y="12768"/>
                    <a:pt x="7029" y="12768"/>
                  </a:cubicBezTo>
                  <a:close/>
                </a:path>
              </a:pathLst>
            </a:custGeom>
            <a:grpFill/>
            <a:ln w="6390" cap="flat">
              <a:noFill/>
              <a:prstDash val="solid"/>
              <a:miter/>
            </a:ln>
          </p:spPr>
          <p:txBody>
            <a:bodyPr rtlCol="0" anchor="ctr"/>
            <a:lstStyle/>
            <a:p>
              <a:endParaRPr lang="en-US" dirty="0"/>
            </a:p>
          </p:txBody>
        </p:sp>
        <p:sp>
          <p:nvSpPr>
            <p:cNvPr id="57" name="Graphic 4">
              <a:extLst>
                <a:ext uri="{FF2B5EF4-FFF2-40B4-BE49-F238E27FC236}">
                  <a16:creationId xmlns:a16="http://schemas.microsoft.com/office/drawing/2014/main" id="{848CF4DC-DD60-48C3-89FE-1A6C73A1A351}"/>
                </a:ext>
              </a:extLst>
            </p:cNvPr>
            <p:cNvSpPr/>
            <p:nvPr/>
          </p:nvSpPr>
          <p:spPr>
            <a:xfrm>
              <a:off x="656859" y="2545456"/>
              <a:ext cx="12805" cy="12767"/>
            </a:xfrm>
            <a:custGeom>
              <a:avLst/>
              <a:gdLst>
                <a:gd name="connsiteX0" fmla="*/ 6416 w 12805"/>
                <a:gd name="connsiteY0" fmla="*/ 12768 h 12767"/>
                <a:gd name="connsiteX1" fmla="*/ 12806 w 12805"/>
                <a:gd name="connsiteY1" fmla="*/ 6384 h 12767"/>
                <a:gd name="connsiteX2" fmla="*/ 12167 w 12805"/>
                <a:gd name="connsiteY2" fmla="*/ 3830 h 12767"/>
                <a:gd name="connsiteX3" fmla="*/ 10889 w 12805"/>
                <a:gd name="connsiteY3" fmla="*/ 1915 h 12767"/>
                <a:gd name="connsiteX4" fmla="*/ 5138 w 12805"/>
                <a:gd name="connsiteY4" fmla="*/ 0 h 12767"/>
                <a:gd name="connsiteX5" fmla="*/ 3860 w 12805"/>
                <a:gd name="connsiteY5" fmla="*/ 638 h 12767"/>
                <a:gd name="connsiteX6" fmla="*/ 1943 w 12805"/>
                <a:gd name="connsiteY6" fmla="*/ 1915 h 12767"/>
                <a:gd name="connsiteX7" fmla="*/ 665 w 12805"/>
                <a:gd name="connsiteY7" fmla="*/ 3830 h 12767"/>
                <a:gd name="connsiteX8" fmla="*/ 1943 w 12805"/>
                <a:gd name="connsiteY8" fmla="*/ 10853 h 12767"/>
                <a:gd name="connsiteX9" fmla="*/ 6416 w 12805"/>
                <a:gd name="connsiteY9"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05" h="12767">
                  <a:moveTo>
                    <a:pt x="6416" y="12768"/>
                  </a:moveTo>
                  <a:cubicBezTo>
                    <a:pt x="10250" y="12768"/>
                    <a:pt x="12806" y="9576"/>
                    <a:pt x="12806" y="6384"/>
                  </a:cubicBezTo>
                  <a:cubicBezTo>
                    <a:pt x="12806" y="5746"/>
                    <a:pt x="12806" y="4469"/>
                    <a:pt x="12167" y="3830"/>
                  </a:cubicBezTo>
                  <a:cubicBezTo>
                    <a:pt x="12167" y="3192"/>
                    <a:pt x="11528" y="2554"/>
                    <a:pt x="10889" y="1915"/>
                  </a:cubicBezTo>
                  <a:cubicBezTo>
                    <a:pt x="9611" y="638"/>
                    <a:pt x="7055" y="0"/>
                    <a:pt x="5138" y="0"/>
                  </a:cubicBezTo>
                  <a:lnTo>
                    <a:pt x="3860" y="638"/>
                  </a:lnTo>
                  <a:cubicBezTo>
                    <a:pt x="3221" y="638"/>
                    <a:pt x="2582" y="1277"/>
                    <a:pt x="1943" y="1915"/>
                  </a:cubicBezTo>
                  <a:cubicBezTo>
                    <a:pt x="1304" y="2554"/>
                    <a:pt x="665" y="3192"/>
                    <a:pt x="665" y="3830"/>
                  </a:cubicBezTo>
                  <a:cubicBezTo>
                    <a:pt x="-613" y="6384"/>
                    <a:pt x="26" y="8938"/>
                    <a:pt x="1943" y="10853"/>
                  </a:cubicBezTo>
                  <a:cubicBezTo>
                    <a:pt x="3221" y="12130"/>
                    <a:pt x="4499" y="12768"/>
                    <a:pt x="6416" y="12768"/>
                  </a:cubicBezTo>
                  <a:close/>
                </a:path>
              </a:pathLst>
            </a:custGeom>
            <a:grpFill/>
            <a:ln w="6390" cap="flat">
              <a:noFill/>
              <a:prstDash val="solid"/>
              <a:miter/>
            </a:ln>
          </p:spPr>
          <p:txBody>
            <a:bodyPr rtlCol="0" anchor="ctr"/>
            <a:lstStyle/>
            <a:p>
              <a:endParaRPr lang="en-US" dirty="0"/>
            </a:p>
          </p:txBody>
        </p:sp>
        <p:sp>
          <p:nvSpPr>
            <p:cNvPr id="58" name="Graphic 4">
              <a:extLst>
                <a:ext uri="{FF2B5EF4-FFF2-40B4-BE49-F238E27FC236}">
                  <a16:creationId xmlns:a16="http://schemas.microsoft.com/office/drawing/2014/main" id="{61C34B9C-8FC0-474B-B2EA-855F1F72CF73}"/>
                </a:ext>
              </a:extLst>
            </p:cNvPr>
            <p:cNvSpPr/>
            <p:nvPr/>
          </p:nvSpPr>
          <p:spPr>
            <a:xfrm>
              <a:off x="655607" y="2516090"/>
              <a:ext cx="14057" cy="12767"/>
            </a:xfrm>
            <a:custGeom>
              <a:avLst/>
              <a:gdLst>
                <a:gd name="connsiteX0" fmla="*/ 7668 w 14057"/>
                <a:gd name="connsiteY0" fmla="*/ 12768 h 12767"/>
                <a:gd name="connsiteX1" fmla="*/ 10224 w 14057"/>
                <a:gd name="connsiteY1" fmla="*/ 12130 h 12767"/>
                <a:gd name="connsiteX2" fmla="*/ 12141 w 14057"/>
                <a:gd name="connsiteY2" fmla="*/ 10853 h 12767"/>
                <a:gd name="connsiteX3" fmla="*/ 14058 w 14057"/>
                <a:gd name="connsiteY3" fmla="*/ 6384 h 12767"/>
                <a:gd name="connsiteX4" fmla="*/ 13419 w 14057"/>
                <a:gd name="connsiteY4" fmla="*/ 3830 h 12767"/>
                <a:gd name="connsiteX5" fmla="*/ 12141 w 14057"/>
                <a:gd name="connsiteY5" fmla="*/ 1915 h 12767"/>
                <a:gd name="connsiteX6" fmla="*/ 10863 w 14057"/>
                <a:gd name="connsiteY6" fmla="*/ 1277 h 12767"/>
                <a:gd name="connsiteX7" fmla="*/ 9585 w 14057"/>
                <a:gd name="connsiteY7" fmla="*/ 638 h 12767"/>
                <a:gd name="connsiteX8" fmla="*/ 8307 w 14057"/>
                <a:gd name="connsiteY8" fmla="*/ 0 h 12767"/>
                <a:gd name="connsiteX9" fmla="*/ 5751 w 14057"/>
                <a:gd name="connsiteY9" fmla="*/ 0 h 12767"/>
                <a:gd name="connsiteX10" fmla="*/ 4473 w 14057"/>
                <a:gd name="connsiteY10" fmla="*/ 638 h 12767"/>
                <a:gd name="connsiteX11" fmla="*/ 3195 w 14057"/>
                <a:gd name="connsiteY11" fmla="*/ 1277 h 12767"/>
                <a:gd name="connsiteX12" fmla="*/ 1917 w 14057"/>
                <a:gd name="connsiteY12" fmla="*/ 1915 h 12767"/>
                <a:gd name="connsiteX13" fmla="*/ 639 w 14057"/>
                <a:gd name="connsiteY13" fmla="*/ 3830 h 12767"/>
                <a:gd name="connsiteX14" fmla="*/ 0 w 14057"/>
                <a:gd name="connsiteY14" fmla="*/ 6384 h 12767"/>
                <a:gd name="connsiteX15" fmla="*/ 1917 w 14057"/>
                <a:gd name="connsiteY15" fmla="*/ 10853 h 12767"/>
                <a:gd name="connsiteX16" fmla="*/ 7668 w 14057"/>
                <a:gd name="connsiteY1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57" h="12767">
                  <a:moveTo>
                    <a:pt x="7668" y="12768"/>
                  </a:moveTo>
                  <a:cubicBezTo>
                    <a:pt x="8307" y="12768"/>
                    <a:pt x="9585" y="12768"/>
                    <a:pt x="10224" y="12130"/>
                  </a:cubicBezTo>
                  <a:cubicBezTo>
                    <a:pt x="10863" y="12130"/>
                    <a:pt x="11502" y="11491"/>
                    <a:pt x="12141" y="10853"/>
                  </a:cubicBezTo>
                  <a:cubicBezTo>
                    <a:pt x="13419" y="9576"/>
                    <a:pt x="14058" y="8299"/>
                    <a:pt x="14058" y="6384"/>
                  </a:cubicBezTo>
                  <a:cubicBezTo>
                    <a:pt x="14058" y="5746"/>
                    <a:pt x="14058" y="4469"/>
                    <a:pt x="13419" y="3830"/>
                  </a:cubicBezTo>
                  <a:cubicBezTo>
                    <a:pt x="13419" y="3192"/>
                    <a:pt x="12780" y="2554"/>
                    <a:pt x="12141" y="1915"/>
                  </a:cubicBezTo>
                  <a:cubicBezTo>
                    <a:pt x="12141" y="1277"/>
                    <a:pt x="11502" y="1277"/>
                    <a:pt x="10863" y="1277"/>
                  </a:cubicBezTo>
                  <a:lnTo>
                    <a:pt x="9585" y="638"/>
                  </a:lnTo>
                  <a:lnTo>
                    <a:pt x="8307" y="0"/>
                  </a:lnTo>
                  <a:cubicBezTo>
                    <a:pt x="7668" y="0"/>
                    <a:pt x="6390" y="0"/>
                    <a:pt x="5751" y="0"/>
                  </a:cubicBezTo>
                  <a:lnTo>
                    <a:pt x="4473" y="638"/>
                  </a:lnTo>
                  <a:lnTo>
                    <a:pt x="3195" y="1277"/>
                  </a:lnTo>
                  <a:lnTo>
                    <a:pt x="1917" y="1915"/>
                  </a:lnTo>
                  <a:cubicBezTo>
                    <a:pt x="1278" y="2554"/>
                    <a:pt x="639" y="3192"/>
                    <a:pt x="639" y="3830"/>
                  </a:cubicBezTo>
                  <a:cubicBezTo>
                    <a:pt x="639" y="4469"/>
                    <a:pt x="0" y="5107"/>
                    <a:pt x="0" y="6384"/>
                  </a:cubicBezTo>
                  <a:cubicBezTo>
                    <a:pt x="0" y="8299"/>
                    <a:pt x="639" y="9576"/>
                    <a:pt x="1917" y="10853"/>
                  </a:cubicBezTo>
                  <a:cubicBezTo>
                    <a:pt x="4473" y="12130"/>
                    <a:pt x="5751" y="12768"/>
                    <a:pt x="7668" y="12768"/>
                  </a:cubicBezTo>
                  <a:close/>
                </a:path>
              </a:pathLst>
            </a:custGeom>
            <a:grpFill/>
            <a:ln w="6390" cap="flat">
              <a:noFill/>
              <a:prstDash val="solid"/>
              <a:miter/>
            </a:ln>
          </p:spPr>
          <p:txBody>
            <a:bodyPr rtlCol="0" anchor="ctr"/>
            <a:lstStyle/>
            <a:p>
              <a:endParaRPr lang="en-US" dirty="0"/>
            </a:p>
          </p:txBody>
        </p:sp>
        <p:sp>
          <p:nvSpPr>
            <p:cNvPr id="59" name="Graphic 4">
              <a:extLst>
                <a:ext uri="{FF2B5EF4-FFF2-40B4-BE49-F238E27FC236}">
                  <a16:creationId xmlns:a16="http://schemas.microsoft.com/office/drawing/2014/main" id="{311CBDB6-514E-4B76-B053-4C69A66C9C76}"/>
                </a:ext>
              </a:extLst>
            </p:cNvPr>
            <p:cNvSpPr/>
            <p:nvPr/>
          </p:nvSpPr>
          <p:spPr>
            <a:xfrm>
              <a:off x="657034" y="2486723"/>
              <a:ext cx="12630" cy="12767"/>
            </a:xfrm>
            <a:custGeom>
              <a:avLst/>
              <a:gdLst>
                <a:gd name="connsiteX0" fmla="*/ 6241 w 12630"/>
                <a:gd name="connsiteY0" fmla="*/ 12768 h 12767"/>
                <a:gd name="connsiteX1" fmla="*/ 10714 w 12630"/>
                <a:gd name="connsiteY1" fmla="*/ 10853 h 12767"/>
                <a:gd name="connsiteX2" fmla="*/ 12631 w 12630"/>
                <a:gd name="connsiteY2" fmla="*/ 6384 h 12767"/>
                <a:gd name="connsiteX3" fmla="*/ 10714 w 12630"/>
                <a:gd name="connsiteY3" fmla="*/ 1915 h 12767"/>
                <a:gd name="connsiteX4" fmla="*/ 1768 w 12630"/>
                <a:gd name="connsiteY4" fmla="*/ 1915 h 12767"/>
                <a:gd name="connsiteX5" fmla="*/ 490 w 12630"/>
                <a:gd name="connsiteY5" fmla="*/ 3830 h 12767"/>
                <a:gd name="connsiteX6" fmla="*/ 3685 w 12630"/>
                <a:gd name="connsiteY6" fmla="*/ 12130 h 12767"/>
                <a:gd name="connsiteX7" fmla="*/ 6241 w 12630"/>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30" h="12767">
                  <a:moveTo>
                    <a:pt x="6241" y="12768"/>
                  </a:moveTo>
                  <a:cubicBezTo>
                    <a:pt x="8158" y="12768"/>
                    <a:pt x="9436" y="12130"/>
                    <a:pt x="10714" y="10853"/>
                  </a:cubicBezTo>
                  <a:cubicBezTo>
                    <a:pt x="11992" y="9576"/>
                    <a:pt x="12631" y="8299"/>
                    <a:pt x="12631" y="6384"/>
                  </a:cubicBezTo>
                  <a:cubicBezTo>
                    <a:pt x="12631" y="4469"/>
                    <a:pt x="11992" y="3192"/>
                    <a:pt x="10714" y="1915"/>
                  </a:cubicBezTo>
                  <a:cubicBezTo>
                    <a:pt x="8158" y="-638"/>
                    <a:pt x="4324" y="-638"/>
                    <a:pt x="1768" y="1915"/>
                  </a:cubicBezTo>
                  <a:cubicBezTo>
                    <a:pt x="1129" y="2554"/>
                    <a:pt x="490" y="3192"/>
                    <a:pt x="490" y="3830"/>
                  </a:cubicBezTo>
                  <a:cubicBezTo>
                    <a:pt x="-788" y="7022"/>
                    <a:pt x="490" y="10853"/>
                    <a:pt x="3685" y="12130"/>
                  </a:cubicBezTo>
                  <a:cubicBezTo>
                    <a:pt x="4324" y="12768"/>
                    <a:pt x="5602" y="12768"/>
                    <a:pt x="6241" y="12768"/>
                  </a:cubicBezTo>
                  <a:close/>
                </a:path>
              </a:pathLst>
            </a:custGeom>
            <a:grpFill/>
            <a:ln w="6390" cap="flat">
              <a:noFill/>
              <a:prstDash val="solid"/>
              <a:miter/>
            </a:ln>
          </p:spPr>
          <p:txBody>
            <a:bodyPr rtlCol="0" anchor="ctr"/>
            <a:lstStyle/>
            <a:p>
              <a:endParaRPr lang="en-US" dirty="0"/>
            </a:p>
          </p:txBody>
        </p:sp>
      </p:grpSp>
      <p:grpSp>
        <p:nvGrpSpPr>
          <p:cNvPr id="35" name="Graphic 4">
            <a:extLst>
              <a:ext uri="{FF2B5EF4-FFF2-40B4-BE49-F238E27FC236}">
                <a16:creationId xmlns:a16="http://schemas.microsoft.com/office/drawing/2014/main" id="{0825816E-4A38-43B6-81D7-42137176D04D}"/>
              </a:ext>
            </a:extLst>
          </p:cNvPr>
          <p:cNvGrpSpPr/>
          <p:nvPr/>
        </p:nvGrpSpPr>
        <p:grpSpPr>
          <a:xfrm>
            <a:off x="2536391" y="5523127"/>
            <a:ext cx="252000" cy="360000"/>
            <a:chOff x="1617932" y="3399633"/>
            <a:chExt cx="155274" cy="241952"/>
          </a:xfrm>
          <a:solidFill>
            <a:schemeClr val="accent5"/>
          </a:solidFill>
        </p:grpSpPr>
        <p:sp>
          <p:nvSpPr>
            <p:cNvPr id="36" name="Graphic 4">
              <a:extLst>
                <a:ext uri="{FF2B5EF4-FFF2-40B4-BE49-F238E27FC236}">
                  <a16:creationId xmlns:a16="http://schemas.microsoft.com/office/drawing/2014/main" id="{57BA5FCF-7B76-4D69-97BE-93BB2A6B5C70}"/>
                </a:ext>
              </a:extLst>
            </p:cNvPr>
            <p:cNvSpPr/>
            <p:nvPr/>
          </p:nvSpPr>
          <p:spPr>
            <a:xfrm>
              <a:off x="1655387" y="3442979"/>
              <a:ext cx="81466" cy="93909"/>
            </a:xfrm>
            <a:custGeom>
              <a:avLst/>
              <a:gdLst>
                <a:gd name="connsiteX0" fmla="*/ 9191 w 81466"/>
                <a:gd name="connsiteY0" fmla="*/ 65819 h 93909"/>
                <a:gd name="connsiteX1" fmla="*/ 16859 w 81466"/>
                <a:gd name="connsiteY1" fmla="*/ 87525 h 93909"/>
                <a:gd name="connsiteX2" fmla="*/ 23249 w 81466"/>
                <a:gd name="connsiteY2" fmla="*/ 93909 h 93909"/>
                <a:gd name="connsiteX3" fmla="*/ 57754 w 81466"/>
                <a:gd name="connsiteY3" fmla="*/ 93909 h 93909"/>
                <a:gd name="connsiteX4" fmla="*/ 64144 w 81466"/>
                <a:gd name="connsiteY4" fmla="*/ 87525 h 93909"/>
                <a:gd name="connsiteX5" fmla="*/ 71812 w 81466"/>
                <a:gd name="connsiteY5" fmla="*/ 65819 h 93909"/>
                <a:gd name="connsiteX6" fmla="*/ 81397 w 81466"/>
                <a:gd name="connsiteY6" fmla="*/ 39007 h 93909"/>
                <a:gd name="connsiteX7" fmla="*/ 39224 w 81466"/>
                <a:gd name="connsiteY7" fmla="*/ 64 h 93909"/>
                <a:gd name="connsiteX8" fmla="*/ 245 w 81466"/>
                <a:gd name="connsiteY8" fmla="*/ 39007 h 93909"/>
                <a:gd name="connsiteX9" fmla="*/ 9191 w 81466"/>
                <a:gd name="connsiteY9" fmla="*/ 65819 h 93909"/>
                <a:gd name="connsiteX10" fmla="*/ 40501 w 81466"/>
                <a:gd name="connsiteY10" fmla="*/ 11555 h 93909"/>
                <a:gd name="connsiteX11" fmla="*/ 68617 w 81466"/>
                <a:gd name="connsiteY11" fmla="*/ 37730 h 93909"/>
                <a:gd name="connsiteX12" fmla="*/ 68617 w 81466"/>
                <a:gd name="connsiteY12" fmla="*/ 39007 h 93909"/>
                <a:gd name="connsiteX13" fmla="*/ 61588 w 81466"/>
                <a:gd name="connsiteY13" fmla="*/ 58158 h 93909"/>
                <a:gd name="connsiteX14" fmla="*/ 51364 w 81466"/>
                <a:gd name="connsiteY14" fmla="*/ 81141 h 93909"/>
                <a:gd name="connsiteX15" fmla="*/ 29000 w 81466"/>
                <a:gd name="connsiteY15" fmla="*/ 81141 h 93909"/>
                <a:gd name="connsiteX16" fmla="*/ 18776 w 81466"/>
                <a:gd name="connsiteY16" fmla="*/ 58158 h 93909"/>
                <a:gd name="connsiteX17" fmla="*/ 11747 w 81466"/>
                <a:gd name="connsiteY17" fmla="*/ 39007 h 93909"/>
                <a:gd name="connsiteX18" fmla="*/ 38585 w 81466"/>
                <a:gd name="connsiteY18" fmla="*/ 12194 h 93909"/>
                <a:gd name="connsiteX19" fmla="*/ 40501 w 81466"/>
                <a:gd name="connsiteY19" fmla="*/ 11555 h 9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466" h="93909">
                  <a:moveTo>
                    <a:pt x="9191" y="65819"/>
                  </a:moveTo>
                  <a:cubicBezTo>
                    <a:pt x="14303" y="71565"/>
                    <a:pt x="17498" y="79864"/>
                    <a:pt x="16859" y="87525"/>
                  </a:cubicBezTo>
                  <a:cubicBezTo>
                    <a:pt x="16859" y="91355"/>
                    <a:pt x="19415" y="93909"/>
                    <a:pt x="23249" y="93909"/>
                  </a:cubicBezTo>
                  <a:lnTo>
                    <a:pt x="57754" y="93909"/>
                  </a:lnTo>
                  <a:cubicBezTo>
                    <a:pt x="61588" y="93909"/>
                    <a:pt x="64144" y="91355"/>
                    <a:pt x="64144" y="87525"/>
                  </a:cubicBezTo>
                  <a:cubicBezTo>
                    <a:pt x="63505" y="79226"/>
                    <a:pt x="66700" y="71565"/>
                    <a:pt x="71812" y="65819"/>
                  </a:cubicBezTo>
                  <a:cubicBezTo>
                    <a:pt x="78202" y="58158"/>
                    <a:pt x="82036" y="48583"/>
                    <a:pt x="81397" y="39007"/>
                  </a:cubicBezTo>
                  <a:cubicBezTo>
                    <a:pt x="80758" y="16663"/>
                    <a:pt x="61588" y="-1212"/>
                    <a:pt x="39224" y="64"/>
                  </a:cubicBezTo>
                  <a:cubicBezTo>
                    <a:pt x="18137" y="703"/>
                    <a:pt x="884" y="17939"/>
                    <a:pt x="245" y="39007"/>
                  </a:cubicBezTo>
                  <a:cubicBezTo>
                    <a:pt x="-1033" y="48583"/>
                    <a:pt x="2801" y="58158"/>
                    <a:pt x="9191" y="65819"/>
                  </a:cubicBezTo>
                  <a:close/>
                  <a:moveTo>
                    <a:pt x="40501" y="11555"/>
                  </a:moveTo>
                  <a:cubicBezTo>
                    <a:pt x="55198" y="10917"/>
                    <a:pt x="67978" y="22408"/>
                    <a:pt x="68617" y="37730"/>
                  </a:cubicBezTo>
                  <a:cubicBezTo>
                    <a:pt x="68617" y="38368"/>
                    <a:pt x="68617" y="38368"/>
                    <a:pt x="68617" y="39007"/>
                  </a:cubicBezTo>
                  <a:cubicBezTo>
                    <a:pt x="69256" y="46029"/>
                    <a:pt x="66700" y="53051"/>
                    <a:pt x="61588" y="58158"/>
                  </a:cubicBezTo>
                  <a:cubicBezTo>
                    <a:pt x="55837" y="64542"/>
                    <a:pt x="52642" y="72842"/>
                    <a:pt x="51364" y="81141"/>
                  </a:cubicBezTo>
                  <a:lnTo>
                    <a:pt x="29000" y="81141"/>
                  </a:lnTo>
                  <a:cubicBezTo>
                    <a:pt x="28361" y="72842"/>
                    <a:pt x="24527" y="64542"/>
                    <a:pt x="18776" y="58158"/>
                  </a:cubicBezTo>
                  <a:cubicBezTo>
                    <a:pt x="13664" y="53051"/>
                    <a:pt x="11747" y="46029"/>
                    <a:pt x="11747" y="39007"/>
                  </a:cubicBezTo>
                  <a:cubicBezTo>
                    <a:pt x="11747" y="24323"/>
                    <a:pt x="23888" y="12194"/>
                    <a:pt x="38585" y="12194"/>
                  </a:cubicBezTo>
                  <a:cubicBezTo>
                    <a:pt x="39862" y="11555"/>
                    <a:pt x="39862" y="11555"/>
                    <a:pt x="40501" y="11555"/>
                  </a:cubicBezTo>
                  <a:close/>
                </a:path>
              </a:pathLst>
            </a:custGeom>
            <a:grpFill/>
            <a:ln w="6390" cap="flat">
              <a:noFill/>
              <a:prstDash val="solid"/>
              <a:miter/>
            </a:ln>
          </p:spPr>
          <p:txBody>
            <a:bodyPr rtlCol="0" anchor="ctr"/>
            <a:lstStyle/>
            <a:p>
              <a:endParaRPr lang="en-US" dirty="0"/>
            </a:p>
          </p:txBody>
        </p:sp>
        <p:sp>
          <p:nvSpPr>
            <p:cNvPr id="37" name="Graphic 4">
              <a:extLst>
                <a:ext uri="{FF2B5EF4-FFF2-40B4-BE49-F238E27FC236}">
                  <a16:creationId xmlns:a16="http://schemas.microsoft.com/office/drawing/2014/main" id="{9FFA9208-9C7D-4BDD-9C7D-B18F03A97860}"/>
                </a:ext>
              </a:extLst>
            </p:cNvPr>
            <p:cNvSpPr/>
            <p:nvPr/>
          </p:nvSpPr>
          <p:spPr>
            <a:xfrm>
              <a:off x="1672885" y="3542634"/>
              <a:ext cx="45368" cy="12767"/>
            </a:xfrm>
            <a:custGeom>
              <a:avLst/>
              <a:gdLst>
                <a:gd name="connsiteX0" fmla="*/ 38979 w 45368"/>
                <a:gd name="connsiteY0" fmla="*/ 0 h 12767"/>
                <a:gd name="connsiteX1" fmla="*/ 6390 w 45368"/>
                <a:gd name="connsiteY1" fmla="*/ 0 h 12767"/>
                <a:gd name="connsiteX2" fmla="*/ 0 w 45368"/>
                <a:gd name="connsiteY2" fmla="*/ 6384 h 12767"/>
                <a:gd name="connsiteX3" fmla="*/ 6390 w 45368"/>
                <a:gd name="connsiteY3" fmla="*/ 12768 h 12767"/>
                <a:gd name="connsiteX4" fmla="*/ 38979 w 45368"/>
                <a:gd name="connsiteY4" fmla="*/ 12768 h 12767"/>
                <a:gd name="connsiteX5" fmla="*/ 45369 w 45368"/>
                <a:gd name="connsiteY5" fmla="*/ 6384 h 12767"/>
                <a:gd name="connsiteX6" fmla="*/ 38979 w 45368"/>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8" h="12767">
                  <a:moveTo>
                    <a:pt x="38979" y="0"/>
                  </a:moveTo>
                  <a:lnTo>
                    <a:pt x="6390" y="0"/>
                  </a:lnTo>
                  <a:cubicBezTo>
                    <a:pt x="2556" y="0"/>
                    <a:pt x="0" y="2554"/>
                    <a:pt x="0" y="6384"/>
                  </a:cubicBezTo>
                  <a:cubicBezTo>
                    <a:pt x="0" y="10215"/>
                    <a:pt x="2556" y="12768"/>
                    <a:pt x="6390" y="12768"/>
                  </a:cubicBezTo>
                  <a:lnTo>
                    <a:pt x="38979" y="12768"/>
                  </a:lnTo>
                  <a:cubicBezTo>
                    <a:pt x="42813" y="12768"/>
                    <a:pt x="45369" y="10215"/>
                    <a:pt x="45369" y="6384"/>
                  </a:cubicBezTo>
                  <a:cubicBezTo>
                    <a:pt x="45369" y="2554"/>
                    <a:pt x="42813" y="0"/>
                    <a:pt x="38979" y="0"/>
                  </a:cubicBezTo>
                  <a:close/>
                </a:path>
              </a:pathLst>
            </a:custGeom>
            <a:grpFill/>
            <a:ln w="6390" cap="flat">
              <a:noFill/>
              <a:prstDash val="solid"/>
              <a:miter/>
            </a:ln>
          </p:spPr>
          <p:txBody>
            <a:bodyPr rtlCol="0" anchor="ctr"/>
            <a:lstStyle/>
            <a:p>
              <a:endParaRPr lang="en-US" dirty="0"/>
            </a:p>
          </p:txBody>
        </p:sp>
        <p:sp>
          <p:nvSpPr>
            <p:cNvPr id="38" name="Graphic 4">
              <a:extLst>
                <a:ext uri="{FF2B5EF4-FFF2-40B4-BE49-F238E27FC236}">
                  <a16:creationId xmlns:a16="http://schemas.microsoft.com/office/drawing/2014/main" id="{53A6A0E2-3C9C-458F-8935-6BA4105BDAFB}"/>
                </a:ext>
              </a:extLst>
            </p:cNvPr>
            <p:cNvSpPr/>
            <p:nvPr/>
          </p:nvSpPr>
          <p:spPr>
            <a:xfrm>
              <a:off x="1689499" y="3399633"/>
              <a:ext cx="12779" cy="26812"/>
            </a:xfrm>
            <a:custGeom>
              <a:avLst/>
              <a:gdLst>
                <a:gd name="connsiteX0" fmla="*/ 6390 w 12779"/>
                <a:gd name="connsiteY0" fmla="*/ 26812 h 26812"/>
                <a:gd name="connsiteX1" fmla="*/ 12780 w 12779"/>
                <a:gd name="connsiteY1" fmla="*/ 20428 h 26812"/>
                <a:gd name="connsiteX2" fmla="*/ 12780 w 12779"/>
                <a:gd name="connsiteY2" fmla="*/ 6384 h 26812"/>
                <a:gd name="connsiteX3" fmla="*/ 6390 w 12779"/>
                <a:gd name="connsiteY3" fmla="*/ 0 h 26812"/>
                <a:gd name="connsiteX4" fmla="*/ 0 w 12779"/>
                <a:gd name="connsiteY4" fmla="*/ 6384 h 26812"/>
                <a:gd name="connsiteX5" fmla="*/ 0 w 12779"/>
                <a:gd name="connsiteY5" fmla="*/ 20428 h 26812"/>
                <a:gd name="connsiteX6" fmla="*/ 6390 w 12779"/>
                <a:gd name="connsiteY6" fmla="*/ 26812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6812">
                  <a:moveTo>
                    <a:pt x="6390" y="26812"/>
                  </a:moveTo>
                  <a:cubicBezTo>
                    <a:pt x="10224" y="26812"/>
                    <a:pt x="12780" y="24259"/>
                    <a:pt x="12780" y="20428"/>
                  </a:cubicBezTo>
                  <a:lnTo>
                    <a:pt x="12780" y="6384"/>
                  </a:lnTo>
                  <a:cubicBezTo>
                    <a:pt x="12780" y="2553"/>
                    <a:pt x="10224" y="0"/>
                    <a:pt x="6390" y="0"/>
                  </a:cubicBezTo>
                  <a:cubicBezTo>
                    <a:pt x="2556" y="0"/>
                    <a:pt x="0" y="2553"/>
                    <a:pt x="0" y="6384"/>
                  </a:cubicBezTo>
                  <a:lnTo>
                    <a:pt x="0" y="20428"/>
                  </a:lnTo>
                  <a:cubicBezTo>
                    <a:pt x="0" y="24259"/>
                    <a:pt x="2556" y="26812"/>
                    <a:pt x="6390" y="26812"/>
                  </a:cubicBezTo>
                  <a:close/>
                </a:path>
              </a:pathLst>
            </a:custGeom>
            <a:grpFill/>
            <a:ln w="6390" cap="flat">
              <a:noFill/>
              <a:prstDash val="solid"/>
              <a:miter/>
            </a:ln>
          </p:spPr>
          <p:txBody>
            <a:bodyPr rtlCol="0" anchor="ctr"/>
            <a:lstStyle/>
            <a:p>
              <a:endParaRPr lang="en-US" dirty="0"/>
            </a:p>
          </p:txBody>
        </p:sp>
        <p:sp>
          <p:nvSpPr>
            <p:cNvPr id="39" name="Graphic 4">
              <a:extLst>
                <a:ext uri="{FF2B5EF4-FFF2-40B4-BE49-F238E27FC236}">
                  <a16:creationId xmlns:a16="http://schemas.microsoft.com/office/drawing/2014/main" id="{3ACAC1E9-556B-4CB9-A019-793D53285336}"/>
                </a:ext>
              </a:extLst>
            </p:cNvPr>
            <p:cNvSpPr/>
            <p:nvPr/>
          </p:nvSpPr>
          <p:spPr>
            <a:xfrm>
              <a:off x="1628994" y="3431752"/>
              <a:ext cx="25999" cy="21505"/>
            </a:xfrm>
            <a:custGeom>
              <a:avLst/>
              <a:gdLst>
                <a:gd name="connsiteX0" fmla="*/ 16414 w 25999"/>
                <a:gd name="connsiteY0" fmla="*/ 20229 h 21505"/>
                <a:gd name="connsiteX1" fmla="*/ 19609 w 25999"/>
                <a:gd name="connsiteY1" fmla="*/ 21506 h 21505"/>
                <a:gd name="connsiteX2" fmla="*/ 25999 w 25999"/>
                <a:gd name="connsiteY2" fmla="*/ 15122 h 21505"/>
                <a:gd name="connsiteX3" fmla="*/ 22804 w 25999"/>
                <a:gd name="connsiteY3" fmla="*/ 9377 h 21505"/>
                <a:gd name="connsiteX4" fmla="*/ 10024 w 25999"/>
                <a:gd name="connsiteY4" fmla="*/ 1077 h 21505"/>
                <a:gd name="connsiteX5" fmla="*/ 1078 w 25999"/>
                <a:gd name="connsiteY5" fmla="*/ 2993 h 21505"/>
                <a:gd name="connsiteX6" fmla="*/ 2995 w 25999"/>
                <a:gd name="connsiteY6" fmla="*/ 11930 h 21505"/>
                <a:gd name="connsiteX7" fmla="*/ 2995 w 25999"/>
                <a:gd name="connsiteY7" fmla="*/ 11930 h 21505"/>
                <a:gd name="connsiteX8" fmla="*/ 16414 w 25999"/>
                <a:gd name="connsiteY8" fmla="*/ 20229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9" h="21505">
                  <a:moveTo>
                    <a:pt x="16414" y="20229"/>
                  </a:moveTo>
                  <a:cubicBezTo>
                    <a:pt x="17692" y="20868"/>
                    <a:pt x="18970" y="21506"/>
                    <a:pt x="19609" y="21506"/>
                  </a:cubicBezTo>
                  <a:cubicBezTo>
                    <a:pt x="23443" y="21506"/>
                    <a:pt x="25999" y="18953"/>
                    <a:pt x="25999" y="15122"/>
                  </a:cubicBezTo>
                  <a:cubicBezTo>
                    <a:pt x="25999" y="13207"/>
                    <a:pt x="24721" y="10653"/>
                    <a:pt x="22804" y="9377"/>
                  </a:cubicBezTo>
                  <a:lnTo>
                    <a:pt x="10024" y="1077"/>
                  </a:lnTo>
                  <a:cubicBezTo>
                    <a:pt x="6829" y="-838"/>
                    <a:pt x="2995" y="-199"/>
                    <a:pt x="1078" y="2993"/>
                  </a:cubicBezTo>
                  <a:cubicBezTo>
                    <a:pt x="-839" y="6185"/>
                    <a:pt x="-200" y="10015"/>
                    <a:pt x="2995" y="11930"/>
                  </a:cubicBezTo>
                  <a:lnTo>
                    <a:pt x="2995" y="11930"/>
                  </a:lnTo>
                  <a:lnTo>
                    <a:pt x="16414" y="20229"/>
                  </a:lnTo>
                  <a:close/>
                </a:path>
              </a:pathLst>
            </a:custGeom>
            <a:grpFill/>
            <a:ln w="6390" cap="flat">
              <a:noFill/>
              <a:prstDash val="solid"/>
              <a:miter/>
            </a:ln>
          </p:spPr>
          <p:txBody>
            <a:bodyPr rtlCol="0" anchor="ctr"/>
            <a:lstStyle/>
            <a:p>
              <a:endParaRPr lang="en-US" dirty="0"/>
            </a:p>
          </p:txBody>
        </p:sp>
        <p:sp>
          <p:nvSpPr>
            <p:cNvPr id="40" name="Graphic 4">
              <a:extLst>
                <a:ext uri="{FF2B5EF4-FFF2-40B4-BE49-F238E27FC236}">
                  <a16:creationId xmlns:a16="http://schemas.microsoft.com/office/drawing/2014/main" id="{8972BCD5-2C44-4C73-A246-634406804AD3}"/>
                </a:ext>
              </a:extLst>
            </p:cNvPr>
            <p:cNvSpPr/>
            <p:nvPr/>
          </p:nvSpPr>
          <p:spPr>
            <a:xfrm>
              <a:off x="1617932" y="3490924"/>
              <a:ext cx="28115" cy="12767"/>
            </a:xfrm>
            <a:custGeom>
              <a:avLst/>
              <a:gdLst>
                <a:gd name="connsiteX0" fmla="*/ 21726 w 28115"/>
                <a:gd name="connsiteY0" fmla="*/ 12768 h 12767"/>
                <a:gd name="connsiteX1" fmla="*/ 28116 w 28115"/>
                <a:gd name="connsiteY1" fmla="*/ 6384 h 12767"/>
                <a:gd name="connsiteX2" fmla="*/ 21726 w 28115"/>
                <a:gd name="connsiteY2" fmla="*/ 0 h 12767"/>
                <a:gd name="connsiteX3" fmla="*/ 6390 w 28115"/>
                <a:gd name="connsiteY3" fmla="*/ 0 h 12767"/>
                <a:gd name="connsiteX4" fmla="*/ 0 w 28115"/>
                <a:gd name="connsiteY4" fmla="*/ 6384 h 12767"/>
                <a:gd name="connsiteX5" fmla="*/ 6390 w 28115"/>
                <a:gd name="connsiteY5" fmla="*/ 12768 h 12767"/>
                <a:gd name="connsiteX6" fmla="*/ 21726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12768"/>
                  </a:moveTo>
                  <a:cubicBezTo>
                    <a:pt x="25560" y="12768"/>
                    <a:pt x="28116" y="10214"/>
                    <a:pt x="28116" y="6384"/>
                  </a:cubicBezTo>
                  <a:cubicBezTo>
                    <a:pt x="28116" y="2553"/>
                    <a:pt x="25560" y="0"/>
                    <a:pt x="21726" y="0"/>
                  </a:cubicBezTo>
                  <a:lnTo>
                    <a:pt x="6390" y="0"/>
                  </a:lnTo>
                  <a:cubicBezTo>
                    <a:pt x="2556" y="0"/>
                    <a:pt x="0" y="2553"/>
                    <a:pt x="0" y="6384"/>
                  </a:cubicBezTo>
                  <a:cubicBezTo>
                    <a:pt x="0" y="10214"/>
                    <a:pt x="2556" y="12768"/>
                    <a:pt x="6390" y="12768"/>
                  </a:cubicBezTo>
                  <a:lnTo>
                    <a:pt x="21726" y="12768"/>
                  </a:lnTo>
                  <a:close/>
                </a:path>
              </a:pathLst>
            </a:custGeom>
            <a:grpFill/>
            <a:ln w="6390" cap="flat">
              <a:noFill/>
              <a:prstDash val="solid"/>
              <a:miter/>
            </a:ln>
          </p:spPr>
          <p:txBody>
            <a:bodyPr rtlCol="0" anchor="ctr"/>
            <a:lstStyle/>
            <a:p>
              <a:endParaRPr lang="en-US" dirty="0"/>
            </a:p>
          </p:txBody>
        </p:sp>
        <p:sp>
          <p:nvSpPr>
            <p:cNvPr id="41" name="Graphic 4">
              <a:extLst>
                <a:ext uri="{FF2B5EF4-FFF2-40B4-BE49-F238E27FC236}">
                  <a16:creationId xmlns:a16="http://schemas.microsoft.com/office/drawing/2014/main" id="{D4C9B8CE-9C63-4D14-818A-CBA4C1351A34}"/>
                </a:ext>
              </a:extLst>
            </p:cNvPr>
            <p:cNvSpPr/>
            <p:nvPr/>
          </p:nvSpPr>
          <p:spPr>
            <a:xfrm>
              <a:off x="1735706" y="3431752"/>
              <a:ext cx="25799" cy="21505"/>
            </a:xfrm>
            <a:custGeom>
              <a:avLst/>
              <a:gdLst>
                <a:gd name="connsiteX0" fmla="*/ 6829 w 25799"/>
                <a:gd name="connsiteY0" fmla="*/ 21506 h 21505"/>
                <a:gd name="connsiteX1" fmla="*/ 10024 w 25799"/>
                <a:gd name="connsiteY1" fmla="*/ 20229 h 21505"/>
                <a:gd name="connsiteX2" fmla="*/ 22804 w 25799"/>
                <a:gd name="connsiteY2" fmla="*/ 11930 h 21505"/>
                <a:gd name="connsiteX3" fmla="*/ 24721 w 25799"/>
                <a:gd name="connsiteY3" fmla="*/ 2993 h 21505"/>
                <a:gd name="connsiteX4" fmla="*/ 15775 w 25799"/>
                <a:gd name="connsiteY4" fmla="*/ 1077 h 21505"/>
                <a:gd name="connsiteX5" fmla="*/ 2995 w 25799"/>
                <a:gd name="connsiteY5" fmla="*/ 9377 h 21505"/>
                <a:gd name="connsiteX6" fmla="*/ 1078 w 25799"/>
                <a:gd name="connsiteY6" fmla="*/ 18314 h 21505"/>
                <a:gd name="connsiteX7" fmla="*/ 6829 w 25799"/>
                <a:gd name="connsiteY7" fmla="*/ 21506 h 21505"/>
                <a:gd name="connsiteX8" fmla="*/ 6829 w 25799"/>
                <a:gd name="connsiteY8" fmla="*/ 21506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99" h="21505">
                  <a:moveTo>
                    <a:pt x="6829" y="21506"/>
                  </a:moveTo>
                  <a:cubicBezTo>
                    <a:pt x="8107" y="21506"/>
                    <a:pt x="9385" y="20868"/>
                    <a:pt x="10024" y="20229"/>
                  </a:cubicBezTo>
                  <a:lnTo>
                    <a:pt x="22804" y="11930"/>
                  </a:lnTo>
                  <a:cubicBezTo>
                    <a:pt x="25999" y="10015"/>
                    <a:pt x="26638" y="6185"/>
                    <a:pt x="24721" y="2993"/>
                  </a:cubicBezTo>
                  <a:cubicBezTo>
                    <a:pt x="22804" y="-199"/>
                    <a:pt x="18970" y="-838"/>
                    <a:pt x="15775" y="1077"/>
                  </a:cubicBezTo>
                  <a:lnTo>
                    <a:pt x="2995" y="9377"/>
                  </a:lnTo>
                  <a:cubicBezTo>
                    <a:pt x="-200" y="11292"/>
                    <a:pt x="-839" y="15122"/>
                    <a:pt x="1078" y="18314"/>
                  </a:cubicBezTo>
                  <a:cubicBezTo>
                    <a:pt x="2356" y="20229"/>
                    <a:pt x="4912" y="21506"/>
                    <a:pt x="6829" y="21506"/>
                  </a:cubicBezTo>
                  <a:lnTo>
                    <a:pt x="6829" y="21506"/>
                  </a:lnTo>
                  <a:close/>
                </a:path>
              </a:pathLst>
            </a:custGeom>
            <a:grpFill/>
            <a:ln w="6390" cap="flat">
              <a:noFill/>
              <a:prstDash val="solid"/>
              <a:miter/>
            </a:ln>
          </p:spPr>
          <p:txBody>
            <a:bodyPr rtlCol="0" anchor="ctr"/>
            <a:lstStyle/>
            <a:p>
              <a:endParaRPr lang="en-US" dirty="0"/>
            </a:p>
          </p:txBody>
        </p:sp>
        <p:sp>
          <p:nvSpPr>
            <p:cNvPr id="42" name="Graphic 4">
              <a:extLst>
                <a:ext uri="{FF2B5EF4-FFF2-40B4-BE49-F238E27FC236}">
                  <a16:creationId xmlns:a16="http://schemas.microsoft.com/office/drawing/2014/main" id="{0F19F065-D0A7-4A6B-B3FC-D25B0760D1D2}"/>
                </a:ext>
              </a:extLst>
            </p:cNvPr>
            <p:cNvSpPr/>
            <p:nvPr/>
          </p:nvSpPr>
          <p:spPr>
            <a:xfrm>
              <a:off x="1745091" y="3490924"/>
              <a:ext cx="28115" cy="12767"/>
            </a:xfrm>
            <a:custGeom>
              <a:avLst/>
              <a:gdLst>
                <a:gd name="connsiteX0" fmla="*/ 21726 w 28115"/>
                <a:gd name="connsiteY0" fmla="*/ 0 h 12767"/>
                <a:gd name="connsiteX1" fmla="*/ 6390 w 28115"/>
                <a:gd name="connsiteY1" fmla="*/ 0 h 12767"/>
                <a:gd name="connsiteX2" fmla="*/ 0 w 28115"/>
                <a:gd name="connsiteY2" fmla="*/ 6384 h 12767"/>
                <a:gd name="connsiteX3" fmla="*/ 6390 w 28115"/>
                <a:gd name="connsiteY3" fmla="*/ 12768 h 12767"/>
                <a:gd name="connsiteX4" fmla="*/ 21726 w 28115"/>
                <a:gd name="connsiteY4" fmla="*/ 12768 h 12767"/>
                <a:gd name="connsiteX5" fmla="*/ 28116 w 28115"/>
                <a:gd name="connsiteY5" fmla="*/ 6384 h 12767"/>
                <a:gd name="connsiteX6" fmla="*/ 21726 w 2811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0"/>
                  </a:moveTo>
                  <a:lnTo>
                    <a:pt x="6390" y="0"/>
                  </a:lnTo>
                  <a:cubicBezTo>
                    <a:pt x="2556" y="0"/>
                    <a:pt x="0" y="2553"/>
                    <a:pt x="0" y="6384"/>
                  </a:cubicBezTo>
                  <a:cubicBezTo>
                    <a:pt x="0" y="10214"/>
                    <a:pt x="2556" y="12768"/>
                    <a:pt x="6390" y="12768"/>
                  </a:cubicBezTo>
                  <a:lnTo>
                    <a:pt x="21726" y="12768"/>
                  </a:lnTo>
                  <a:cubicBezTo>
                    <a:pt x="25560" y="12768"/>
                    <a:pt x="28116" y="10214"/>
                    <a:pt x="28116" y="6384"/>
                  </a:cubicBezTo>
                  <a:cubicBezTo>
                    <a:pt x="28116" y="2553"/>
                    <a:pt x="25560" y="0"/>
                    <a:pt x="21726" y="0"/>
                  </a:cubicBezTo>
                  <a:close/>
                </a:path>
              </a:pathLst>
            </a:custGeom>
            <a:grpFill/>
            <a:ln w="6390" cap="flat">
              <a:noFill/>
              <a:prstDash val="solid"/>
              <a:miter/>
            </a:ln>
          </p:spPr>
          <p:txBody>
            <a:bodyPr rtlCol="0" anchor="ctr"/>
            <a:lstStyle/>
            <a:p>
              <a:endParaRPr lang="en-US" dirty="0"/>
            </a:p>
          </p:txBody>
        </p:sp>
        <p:sp>
          <p:nvSpPr>
            <p:cNvPr id="43" name="Graphic 4">
              <a:extLst>
                <a:ext uri="{FF2B5EF4-FFF2-40B4-BE49-F238E27FC236}">
                  <a16:creationId xmlns:a16="http://schemas.microsoft.com/office/drawing/2014/main" id="{C88DE067-B7E3-4397-AA71-AD8BFE9FA604}"/>
                </a:ext>
              </a:extLst>
            </p:cNvPr>
            <p:cNvSpPr/>
            <p:nvPr/>
          </p:nvSpPr>
          <p:spPr>
            <a:xfrm>
              <a:off x="1620488" y="3563701"/>
              <a:ext cx="150802" cy="77884"/>
            </a:xfrm>
            <a:custGeom>
              <a:avLst/>
              <a:gdLst>
                <a:gd name="connsiteX0" fmla="*/ 94571 w 150802"/>
                <a:gd name="connsiteY0" fmla="*/ 0 h 77884"/>
                <a:gd name="connsiteX1" fmla="*/ 56231 w 150802"/>
                <a:gd name="connsiteY1" fmla="*/ 0 h 77884"/>
                <a:gd name="connsiteX2" fmla="*/ 0 w 150802"/>
                <a:gd name="connsiteY2" fmla="*/ 60010 h 77884"/>
                <a:gd name="connsiteX3" fmla="*/ 0 w 150802"/>
                <a:gd name="connsiteY3" fmla="*/ 71501 h 77884"/>
                <a:gd name="connsiteX4" fmla="*/ 6390 w 150802"/>
                <a:gd name="connsiteY4" fmla="*/ 77885 h 77884"/>
                <a:gd name="connsiteX5" fmla="*/ 12780 w 150802"/>
                <a:gd name="connsiteY5" fmla="*/ 71501 h 77884"/>
                <a:gd name="connsiteX6" fmla="*/ 12780 w 150802"/>
                <a:gd name="connsiteY6" fmla="*/ 60010 h 77884"/>
                <a:gd name="connsiteX7" fmla="*/ 56231 w 150802"/>
                <a:gd name="connsiteY7" fmla="*/ 12768 h 77884"/>
                <a:gd name="connsiteX8" fmla="*/ 94571 w 150802"/>
                <a:gd name="connsiteY8" fmla="*/ 12768 h 77884"/>
                <a:gd name="connsiteX9" fmla="*/ 138023 w 150802"/>
                <a:gd name="connsiteY9" fmla="*/ 60010 h 77884"/>
                <a:gd name="connsiteX10" fmla="*/ 138023 w 150802"/>
                <a:gd name="connsiteY10" fmla="*/ 71501 h 77884"/>
                <a:gd name="connsiteX11" fmla="*/ 144413 w 150802"/>
                <a:gd name="connsiteY11" fmla="*/ 77885 h 77884"/>
                <a:gd name="connsiteX12" fmla="*/ 150803 w 150802"/>
                <a:gd name="connsiteY12" fmla="*/ 71501 h 77884"/>
                <a:gd name="connsiteX13" fmla="*/ 150803 w 150802"/>
                <a:gd name="connsiteY13" fmla="*/ 60010 h 77884"/>
                <a:gd name="connsiteX14" fmla="*/ 94571 w 150802"/>
                <a:gd name="connsiteY14" fmla="*/ 0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802" h="77884">
                  <a:moveTo>
                    <a:pt x="94571" y="0"/>
                  </a:moveTo>
                  <a:lnTo>
                    <a:pt x="56231" y="0"/>
                  </a:lnTo>
                  <a:cubicBezTo>
                    <a:pt x="24921" y="0"/>
                    <a:pt x="0" y="26813"/>
                    <a:pt x="0" y="60010"/>
                  </a:cubicBezTo>
                  <a:lnTo>
                    <a:pt x="0" y="71501"/>
                  </a:lnTo>
                  <a:cubicBezTo>
                    <a:pt x="0" y="75331"/>
                    <a:pt x="2556" y="77885"/>
                    <a:pt x="6390" y="77885"/>
                  </a:cubicBezTo>
                  <a:cubicBezTo>
                    <a:pt x="10224" y="77885"/>
                    <a:pt x="12780" y="75331"/>
                    <a:pt x="12780" y="71501"/>
                  </a:cubicBezTo>
                  <a:lnTo>
                    <a:pt x="12780" y="60010"/>
                  </a:lnTo>
                  <a:cubicBezTo>
                    <a:pt x="12780" y="33835"/>
                    <a:pt x="31950" y="12768"/>
                    <a:pt x="56231" y="12768"/>
                  </a:cubicBezTo>
                  <a:lnTo>
                    <a:pt x="94571" y="12768"/>
                  </a:lnTo>
                  <a:cubicBezTo>
                    <a:pt x="118853" y="12768"/>
                    <a:pt x="138023" y="33835"/>
                    <a:pt x="138023" y="60010"/>
                  </a:cubicBezTo>
                  <a:lnTo>
                    <a:pt x="138023" y="71501"/>
                  </a:lnTo>
                  <a:cubicBezTo>
                    <a:pt x="138023" y="75331"/>
                    <a:pt x="140579" y="77885"/>
                    <a:pt x="144413" y="77885"/>
                  </a:cubicBezTo>
                  <a:cubicBezTo>
                    <a:pt x="148246" y="77885"/>
                    <a:pt x="150803" y="75331"/>
                    <a:pt x="150803" y="71501"/>
                  </a:cubicBezTo>
                  <a:lnTo>
                    <a:pt x="150803" y="60010"/>
                  </a:lnTo>
                  <a:cubicBezTo>
                    <a:pt x="150803" y="26813"/>
                    <a:pt x="125243" y="0"/>
                    <a:pt x="94571" y="0"/>
                  </a:cubicBezTo>
                  <a:close/>
                </a:path>
              </a:pathLst>
            </a:custGeom>
            <a:grpFill/>
            <a:ln w="6390" cap="flat">
              <a:noFill/>
              <a:prstDash val="solid"/>
              <a:miter/>
            </a:ln>
          </p:spPr>
          <p:txBody>
            <a:bodyPr rtlCol="0" anchor="ctr"/>
            <a:lstStyle/>
            <a:p>
              <a:endParaRPr lang="en-US" dirty="0"/>
            </a:p>
          </p:txBody>
        </p:sp>
      </p:grpSp>
      <p:sp>
        <p:nvSpPr>
          <p:cNvPr id="12" name="ZoneTexte 7">
            <a:extLst>
              <a:ext uri="{FF2B5EF4-FFF2-40B4-BE49-F238E27FC236}">
                <a16:creationId xmlns:a16="http://schemas.microsoft.com/office/drawing/2014/main" id="{90D99F0E-6487-466F-B60F-822FF5B994BE}"/>
              </a:ext>
            </a:extLst>
          </p:cNvPr>
          <p:cNvSpPr txBox="1"/>
          <p:nvPr/>
        </p:nvSpPr>
        <p:spPr>
          <a:xfrm>
            <a:off x="8114262" y="4544162"/>
            <a:ext cx="3744000" cy="261610"/>
          </a:xfrm>
          <a:prstGeom prst="rect">
            <a:avLst/>
          </a:prstGeom>
          <a:noFill/>
        </p:spPr>
        <p:txBody>
          <a:bodyPr wrap="square" lIns="108000" rIns="108000" rtlCol="0">
            <a:spAutoFit/>
          </a:bodyPr>
          <a:lstStyle/>
          <a:p>
            <a:pPr marL="171450" indent="-171450">
              <a:buClr>
                <a:srgbClr val="5F5F5F"/>
              </a:buClr>
              <a:buFont typeface="Wingdings" panose="05000000000000000000" pitchFamily="2" charset="2"/>
              <a:buChar char="ü"/>
            </a:pPr>
            <a:r>
              <a:rPr lang="fr-FR" sz="1100" dirty="0">
                <a:latin typeface="+mj-lt"/>
                <a:ea typeface="Segoe UI Symbol" panose="020B0502040204020203" pitchFamily="34" charset="0"/>
              </a:rPr>
              <a:t>Compétences linguistiques</a:t>
            </a:r>
          </a:p>
        </p:txBody>
      </p:sp>
      <p:sp>
        <p:nvSpPr>
          <p:cNvPr id="13" name="AutoShape 9">
            <a:extLst>
              <a:ext uri="{FF2B5EF4-FFF2-40B4-BE49-F238E27FC236}">
                <a16:creationId xmlns:a16="http://schemas.microsoft.com/office/drawing/2014/main" id="{32464AAF-FCB9-4D95-8CE2-FB3618582707}"/>
              </a:ext>
            </a:extLst>
          </p:cNvPr>
          <p:cNvSpPr>
            <a:spLocks/>
          </p:cNvSpPr>
          <p:nvPr/>
        </p:nvSpPr>
        <p:spPr bwMode="auto">
          <a:xfrm>
            <a:off x="7493979" y="3283722"/>
            <a:ext cx="409055" cy="379802"/>
          </a:xfrm>
          <a:custGeom>
            <a:avLst/>
            <a:gdLst/>
            <a:ahLst/>
            <a:cxnLst/>
            <a:rect l="0" t="0" r="r" b="b"/>
            <a:pathLst>
              <a:path w="21600" h="2160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0800" y="1549"/>
                </a:moveTo>
                <a:cubicBezTo>
                  <a:pt x="14026" y="1549"/>
                  <a:pt x="16870" y="3213"/>
                  <a:pt x="18527" y="5723"/>
                </a:cubicBezTo>
                <a:lnTo>
                  <a:pt x="18201" y="5723"/>
                </a:lnTo>
                <a:lnTo>
                  <a:pt x="18010" y="5532"/>
                </a:lnTo>
                <a:lnTo>
                  <a:pt x="16892" y="5532"/>
                </a:lnTo>
                <a:lnTo>
                  <a:pt x="16517" y="5157"/>
                </a:lnTo>
                <a:lnTo>
                  <a:pt x="15017" y="5157"/>
                </a:lnTo>
                <a:lnTo>
                  <a:pt x="14642" y="5532"/>
                </a:lnTo>
                <a:lnTo>
                  <a:pt x="14267" y="5532"/>
                </a:lnTo>
                <a:lnTo>
                  <a:pt x="13892" y="5907"/>
                </a:lnTo>
                <a:lnTo>
                  <a:pt x="12392" y="5907"/>
                </a:lnTo>
                <a:lnTo>
                  <a:pt x="12208" y="6092"/>
                </a:lnTo>
                <a:lnTo>
                  <a:pt x="12017" y="5907"/>
                </a:lnTo>
                <a:lnTo>
                  <a:pt x="10517" y="5907"/>
                </a:lnTo>
                <a:lnTo>
                  <a:pt x="9583" y="6841"/>
                </a:lnTo>
                <a:lnTo>
                  <a:pt x="9767" y="7032"/>
                </a:lnTo>
                <a:lnTo>
                  <a:pt x="9767" y="7407"/>
                </a:lnTo>
                <a:lnTo>
                  <a:pt x="9392" y="7782"/>
                </a:lnTo>
                <a:lnTo>
                  <a:pt x="9017" y="7782"/>
                </a:lnTo>
                <a:lnTo>
                  <a:pt x="8833" y="7966"/>
                </a:lnTo>
                <a:lnTo>
                  <a:pt x="9017" y="8157"/>
                </a:lnTo>
                <a:lnTo>
                  <a:pt x="9017" y="8532"/>
                </a:lnTo>
                <a:lnTo>
                  <a:pt x="8268" y="8532"/>
                </a:lnTo>
                <a:lnTo>
                  <a:pt x="8083" y="8716"/>
                </a:lnTo>
                <a:lnTo>
                  <a:pt x="8083" y="9091"/>
                </a:lnTo>
                <a:lnTo>
                  <a:pt x="8274" y="9282"/>
                </a:lnTo>
                <a:lnTo>
                  <a:pt x="8649" y="9282"/>
                </a:lnTo>
                <a:lnTo>
                  <a:pt x="9392" y="8532"/>
                </a:lnTo>
                <a:lnTo>
                  <a:pt x="9767" y="8532"/>
                </a:lnTo>
                <a:lnTo>
                  <a:pt x="9958" y="8341"/>
                </a:lnTo>
                <a:lnTo>
                  <a:pt x="10333" y="8716"/>
                </a:lnTo>
                <a:lnTo>
                  <a:pt x="10517" y="8532"/>
                </a:lnTo>
                <a:lnTo>
                  <a:pt x="10892" y="8907"/>
                </a:lnTo>
                <a:lnTo>
                  <a:pt x="11267" y="8907"/>
                </a:lnTo>
                <a:lnTo>
                  <a:pt x="11642" y="9282"/>
                </a:lnTo>
                <a:lnTo>
                  <a:pt x="12392" y="9282"/>
                </a:lnTo>
                <a:lnTo>
                  <a:pt x="12392" y="9657"/>
                </a:lnTo>
                <a:lnTo>
                  <a:pt x="12208" y="9841"/>
                </a:lnTo>
                <a:lnTo>
                  <a:pt x="11458" y="9841"/>
                </a:lnTo>
                <a:lnTo>
                  <a:pt x="11267" y="9657"/>
                </a:lnTo>
                <a:lnTo>
                  <a:pt x="10892" y="9657"/>
                </a:lnTo>
                <a:lnTo>
                  <a:pt x="10708" y="9841"/>
                </a:lnTo>
                <a:lnTo>
                  <a:pt x="10517" y="9657"/>
                </a:lnTo>
                <a:lnTo>
                  <a:pt x="10142" y="9657"/>
                </a:lnTo>
                <a:lnTo>
                  <a:pt x="9767" y="9282"/>
                </a:lnTo>
                <a:lnTo>
                  <a:pt x="9017" y="9282"/>
                </a:lnTo>
                <a:lnTo>
                  <a:pt x="8833" y="9466"/>
                </a:lnTo>
                <a:lnTo>
                  <a:pt x="8458" y="9466"/>
                </a:lnTo>
                <a:lnTo>
                  <a:pt x="7524" y="10400"/>
                </a:lnTo>
                <a:lnTo>
                  <a:pt x="7524" y="11900"/>
                </a:lnTo>
                <a:lnTo>
                  <a:pt x="8274" y="12650"/>
                </a:lnTo>
                <a:lnTo>
                  <a:pt x="9017" y="12650"/>
                </a:lnTo>
                <a:lnTo>
                  <a:pt x="9208" y="12466"/>
                </a:lnTo>
                <a:lnTo>
                  <a:pt x="9583" y="12466"/>
                </a:lnTo>
                <a:lnTo>
                  <a:pt x="9767" y="12650"/>
                </a:lnTo>
                <a:lnTo>
                  <a:pt x="9767" y="13400"/>
                </a:lnTo>
                <a:lnTo>
                  <a:pt x="10333" y="13966"/>
                </a:lnTo>
                <a:lnTo>
                  <a:pt x="10333" y="14334"/>
                </a:lnTo>
                <a:lnTo>
                  <a:pt x="10142" y="14525"/>
                </a:lnTo>
                <a:lnTo>
                  <a:pt x="10142" y="15275"/>
                </a:lnTo>
                <a:lnTo>
                  <a:pt x="10333" y="15459"/>
                </a:lnTo>
                <a:lnTo>
                  <a:pt x="10333" y="15834"/>
                </a:lnTo>
                <a:lnTo>
                  <a:pt x="10517" y="16025"/>
                </a:lnTo>
                <a:lnTo>
                  <a:pt x="10517" y="16400"/>
                </a:lnTo>
                <a:lnTo>
                  <a:pt x="10892" y="16775"/>
                </a:lnTo>
                <a:lnTo>
                  <a:pt x="11267" y="16775"/>
                </a:lnTo>
                <a:lnTo>
                  <a:pt x="12017" y="16025"/>
                </a:lnTo>
                <a:lnTo>
                  <a:pt x="12017" y="15650"/>
                </a:lnTo>
                <a:lnTo>
                  <a:pt x="12958" y="14709"/>
                </a:lnTo>
                <a:lnTo>
                  <a:pt x="12958" y="14334"/>
                </a:lnTo>
                <a:lnTo>
                  <a:pt x="12767" y="14150"/>
                </a:lnTo>
                <a:lnTo>
                  <a:pt x="12767" y="13400"/>
                </a:lnTo>
                <a:lnTo>
                  <a:pt x="13892" y="12275"/>
                </a:lnTo>
                <a:lnTo>
                  <a:pt x="13892" y="11900"/>
                </a:lnTo>
                <a:lnTo>
                  <a:pt x="13142" y="11900"/>
                </a:lnTo>
                <a:lnTo>
                  <a:pt x="12767" y="11525"/>
                </a:lnTo>
                <a:lnTo>
                  <a:pt x="12767" y="11150"/>
                </a:lnTo>
                <a:lnTo>
                  <a:pt x="12208" y="10591"/>
                </a:lnTo>
                <a:lnTo>
                  <a:pt x="12208" y="10216"/>
                </a:lnTo>
                <a:lnTo>
                  <a:pt x="12392" y="10032"/>
                </a:lnTo>
                <a:lnTo>
                  <a:pt x="12392" y="10400"/>
                </a:lnTo>
                <a:lnTo>
                  <a:pt x="13142" y="11150"/>
                </a:lnTo>
                <a:lnTo>
                  <a:pt x="13142" y="11525"/>
                </a:lnTo>
                <a:lnTo>
                  <a:pt x="13326" y="11716"/>
                </a:lnTo>
                <a:lnTo>
                  <a:pt x="13517" y="11525"/>
                </a:lnTo>
                <a:lnTo>
                  <a:pt x="13892" y="11525"/>
                </a:lnTo>
                <a:lnTo>
                  <a:pt x="14642" y="10775"/>
                </a:lnTo>
                <a:lnTo>
                  <a:pt x="14267" y="10400"/>
                </a:lnTo>
                <a:lnTo>
                  <a:pt x="13892" y="10400"/>
                </a:lnTo>
                <a:lnTo>
                  <a:pt x="13517" y="10032"/>
                </a:lnTo>
                <a:lnTo>
                  <a:pt x="13701" y="9841"/>
                </a:lnTo>
                <a:lnTo>
                  <a:pt x="14076" y="10216"/>
                </a:lnTo>
                <a:lnTo>
                  <a:pt x="14451" y="10216"/>
                </a:lnTo>
                <a:lnTo>
                  <a:pt x="14642" y="10400"/>
                </a:lnTo>
                <a:lnTo>
                  <a:pt x="15392" y="10400"/>
                </a:lnTo>
                <a:lnTo>
                  <a:pt x="15951" y="10966"/>
                </a:lnTo>
                <a:lnTo>
                  <a:pt x="15951" y="11341"/>
                </a:lnTo>
                <a:lnTo>
                  <a:pt x="16326" y="11716"/>
                </a:lnTo>
                <a:lnTo>
                  <a:pt x="16326" y="12091"/>
                </a:lnTo>
                <a:lnTo>
                  <a:pt x="16517" y="12275"/>
                </a:lnTo>
                <a:lnTo>
                  <a:pt x="16701" y="12091"/>
                </a:lnTo>
                <a:lnTo>
                  <a:pt x="16701" y="11341"/>
                </a:lnTo>
                <a:lnTo>
                  <a:pt x="17266" y="10775"/>
                </a:lnTo>
                <a:lnTo>
                  <a:pt x="17641" y="10775"/>
                </a:lnTo>
                <a:lnTo>
                  <a:pt x="18385" y="11525"/>
                </a:lnTo>
                <a:lnTo>
                  <a:pt x="18385" y="12275"/>
                </a:lnTo>
                <a:lnTo>
                  <a:pt x="19135" y="13025"/>
                </a:lnTo>
                <a:lnTo>
                  <a:pt x="19135" y="12650"/>
                </a:lnTo>
                <a:lnTo>
                  <a:pt x="18576" y="12091"/>
                </a:lnTo>
                <a:lnTo>
                  <a:pt x="18760" y="11900"/>
                </a:lnTo>
                <a:lnTo>
                  <a:pt x="19135" y="12275"/>
                </a:lnTo>
                <a:lnTo>
                  <a:pt x="19510" y="11900"/>
                </a:lnTo>
                <a:lnTo>
                  <a:pt x="19510" y="11525"/>
                </a:lnTo>
                <a:lnTo>
                  <a:pt x="19135" y="11150"/>
                </a:lnTo>
                <a:lnTo>
                  <a:pt x="19510" y="10775"/>
                </a:lnTo>
                <a:lnTo>
                  <a:pt x="19885" y="10775"/>
                </a:lnTo>
                <a:lnTo>
                  <a:pt x="20045" y="10616"/>
                </a:lnTo>
                <a:cubicBezTo>
                  <a:pt x="20046" y="10676"/>
                  <a:pt x="20051" y="10739"/>
                  <a:pt x="20051" y="10800"/>
                </a:cubicBezTo>
                <a:cubicBezTo>
                  <a:pt x="20051" y="11841"/>
                  <a:pt x="19878" y="12841"/>
                  <a:pt x="19559" y="13775"/>
                </a:cubicBezTo>
                <a:lnTo>
                  <a:pt x="19510" y="13775"/>
                </a:lnTo>
                <a:lnTo>
                  <a:pt x="18385" y="12650"/>
                </a:lnTo>
                <a:lnTo>
                  <a:pt x="18385" y="13025"/>
                </a:lnTo>
                <a:lnTo>
                  <a:pt x="19326" y="13966"/>
                </a:lnTo>
                <a:lnTo>
                  <a:pt x="19492" y="13966"/>
                </a:lnTo>
                <a:cubicBezTo>
                  <a:pt x="18197" y="17514"/>
                  <a:pt x="14791" y="20051"/>
                  <a:pt x="10800" y="20051"/>
                </a:cubicBezTo>
                <a:cubicBezTo>
                  <a:pt x="7991" y="20051"/>
                  <a:pt x="5472" y="18794"/>
                  <a:pt x="3774" y="16812"/>
                </a:cubicBezTo>
                <a:lnTo>
                  <a:pt x="3774" y="16775"/>
                </a:lnTo>
                <a:lnTo>
                  <a:pt x="4524" y="16025"/>
                </a:lnTo>
                <a:lnTo>
                  <a:pt x="4524" y="15650"/>
                </a:lnTo>
                <a:lnTo>
                  <a:pt x="5274" y="14900"/>
                </a:lnTo>
                <a:lnTo>
                  <a:pt x="5274" y="14525"/>
                </a:lnTo>
                <a:lnTo>
                  <a:pt x="5649" y="14150"/>
                </a:lnTo>
                <a:lnTo>
                  <a:pt x="5649" y="13775"/>
                </a:lnTo>
                <a:lnTo>
                  <a:pt x="5274" y="13400"/>
                </a:lnTo>
                <a:lnTo>
                  <a:pt x="4899" y="13400"/>
                </a:lnTo>
                <a:lnTo>
                  <a:pt x="4524" y="13025"/>
                </a:lnTo>
                <a:lnTo>
                  <a:pt x="4149" y="13025"/>
                </a:lnTo>
                <a:lnTo>
                  <a:pt x="3399" y="12275"/>
                </a:lnTo>
                <a:lnTo>
                  <a:pt x="3024" y="12275"/>
                </a:lnTo>
                <a:lnTo>
                  <a:pt x="2649" y="11900"/>
                </a:lnTo>
                <a:lnTo>
                  <a:pt x="1899" y="11900"/>
                </a:lnTo>
                <a:lnTo>
                  <a:pt x="1715" y="12091"/>
                </a:lnTo>
                <a:lnTo>
                  <a:pt x="1641" y="12091"/>
                </a:lnTo>
                <a:cubicBezTo>
                  <a:pt x="1582" y="11669"/>
                  <a:pt x="1549" y="11238"/>
                  <a:pt x="1549" y="10800"/>
                </a:cubicBezTo>
                <a:cubicBezTo>
                  <a:pt x="1549" y="10374"/>
                  <a:pt x="1579" y="9957"/>
                  <a:pt x="1635" y="9546"/>
                </a:cubicBezTo>
                <a:lnTo>
                  <a:pt x="2649" y="8532"/>
                </a:lnTo>
                <a:lnTo>
                  <a:pt x="3024" y="8532"/>
                </a:lnTo>
                <a:lnTo>
                  <a:pt x="3774" y="7782"/>
                </a:lnTo>
                <a:lnTo>
                  <a:pt x="4149" y="7782"/>
                </a:lnTo>
                <a:lnTo>
                  <a:pt x="4524" y="7407"/>
                </a:lnTo>
                <a:lnTo>
                  <a:pt x="4149" y="7032"/>
                </a:lnTo>
                <a:lnTo>
                  <a:pt x="3774" y="7032"/>
                </a:lnTo>
                <a:lnTo>
                  <a:pt x="3774" y="6657"/>
                </a:lnTo>
                <a:lnTo>
                  <a:pt x="3399" y="6657"/>
                </a:lnTo>
                <a:lnTo>
                  <a:pt x="2465" y="7591"/>
                </a:lnTo>
                <a:lnTo>
                  <a:pt x="2219" y="7352"/>
                </a:lnTo>
                <a:cubicBezTo>
                  <a:pt x="2368" y="6983"/>
                  <a:pt x="2536" y="6625"/>
                  <a:pt x="2729" y="6282"/>
                </a:cubicBezTo>
                <a:lnTo>
                  <a:pt x="3024" y="6282"/>
                </a:lnTo>
                <a:lnTo>
                  <a:pt x="3399" y="5907"/>
                </a:lnTo>
                <a:lnTo>
                  <a:pt x="4149" y="6657"/>
                </a:lnTo>
                <a:lnTo>
                  <a:pt x="4524" y="6282"/>
                </a:lnTo>
                <a:lnTo>
                  <a:pt x="4524" y="5907"/>
                </a:lnTo>
                <a:lnTo>
                  <a:pt x="4149" y="5532"/>
                </a:lnTo>
                <a:lnTo>
                  <a:pt x="4899" y="4782"/>
                </a:lnTo>
                <a:lnTo>
                  <a:pt x="3780" y="4782"/>
                </a:lnTo>
                <a:cubicBezTo>
                  <a:pt x="5478" y="2805"/>
                  <a:pt x="7995" y="1549"/>
                  <a:pt x="10800" y="1549"/>
                </a:cubicBezTo>
                <a:close/>
                <a:moveTo>
                  <a:pt x="5292" y="4721"/>
                </a:moveTo>
                <a:lnTo>
                  <a:pt x="4917" y="5096"/>
                </a:lnTo>
                <a:lnTo>
                  <a:pt x="5102" y="5280"/>
                </a:lnTo>
                <a:lnTo>
                  <a:pt x="5477" y="5280"/>
                </a:lnTo>
                <a:lnTo>
                  <a:pt x="5667" y="5471"/>
                </a:lnTo>
                <a:lnTo>
                  <a:pt x="5667" y="5846"/>
                </a:lnTo>
                <a:lnTo>
                  <a:pt x="5292" y="6221"/>
                </a:lnTo>
                <a:lnTo>
                  <a:pt x="5667" y="6596"/>
                </a:lnTo>
                <a:lnTo>
                  <a:pt x="6042" y="6596"/>
                </a:lnTo>
                <a:lnTo>
                  <a:pt x="6417" y="6221"/>
                </a:lnTo>
                <a:lnTo>
                  <a:pt x="6792" y="6221"/>
                </a:lnTo>
                <a:lnTo>
                  <a:pt x="7167" y="5846"/>
                </a:lnTo>
                <a:lnTo>
                  <a:pt x="7542" y="5846"/>
                </a:lnTo>
                <a:cubicBezTo>
                  <a:pt x="7542" y="5846"/>
                  <a:pt x="8476" y="4905"/>
                  <a:pt x="8477" y="4905"/>
                </a:cubicBezTo>
                <a:lnTo>
                  <a:pt x="8292" y="4721"/>
                </a:lnTo>
                <a:lnTo>
                  <a:pt x="5292" y="4721"/>
                </a:lnTo>
                <a:close/>
                <a:moveTo>
                  <a:pt x="8636" y="7081"/>
                </a:moveTo>
                <a:lnTo>
                  <a:pt x="8261" y="7456"/>
                </a:lnTo>
                <a:cubicBezTo>
                  <a:pt x="8261" y="7456"/>
                  <a:pt x="8261" y="7831"/>
                  <a:pt x="8261" y="7831"/>
                </a:cubicBezTo>
                <a:lnTo>
                  <a:pt x="8636" y="7831"/>
                </a:lnTo>
                <a:lnTo>
                  <a:pt x="9011" y="7456"/>
                </a:lnTo>
                <a:lnTo>
                  <a:pt x="9011" y="7081"/>
                </a:lnTo>
                <a:lnTo>
                  <a:pt x="8636" y="7081"/>
                </a:lnTo>
                <a:close/>
                <a:moveTo>
                  <a:pt x="19885" y="9073"/>
                </a:moveTo>
                <a:cubicBezTo>
                  <a:pt x="19901" y="9157"/>
                  <a:pt x="19921" y="9240"/>
                  <a:pt x="19934" y="9325"/>
                </a:cubicBezTo>
                <a:lnTo>
                  <a:pt x="19885" y="9282"/>
                </a:lnTo>
                <a:cubicBezTo>
                  <a:pt x="19885" y="9282"/>
                  <a:pt x="19885" y="9073"/>
                  <a:pt x="19885" y="9073"/>
                </a:cubicBezTo>
                <a:close/>
                <a:moveTo>
                  <a:pt x="13541" y="14359"/>
                </a:moveTo>
                <a:cubicBezTo>
                  <a:pt x="13541" y="14359"/>
                  <a:pt x="12982" y="14918"/>
                  <a:pt x="12982" y="14918"/>
                </a:cubicBezTo>
                <a:lnTo>
                  <a:pt x="12982" y="15668"/>
                </a:lnTo>
                <a:lnTo>
                  <a:pt x="13167" y="15859"/>
                </a:lnTo>
                <a:lnTo>
                  <a:pt x="13357" y="15668"/>
                </a:lnTo>
                <a:lnTo>
                  <a:pt x="13357" y="15293"/>
                </a:lnTo>
                <a:lnTo>
                  <a:pt x="13732" y="14918"/>
                </a:lnTo>
                <a:lnTo>
                  <a:pt x="13732" y="14550"/>
                </a:lnTo>
                <a:lnTo>
                  <a:pt x="13541" y="14359"/>
                </a:lnTo>
                <a:close/>
                <a:moveTo>
                  <a:pt x="13541" y="14359"/>
                </a:moveTo>
              </a:path>
            </a:pathLst>
          </a:custGeom>
          <a:solidFill>
            <a:schemeClr val="accent5"/>
          </a:solidFill>
          <a:ln>
            <a:noFill/>
          </a:ln>
        </p:spPr>
        <p:txBody>
          <a:bodyPr lIns="0" tIns="0" rIns="0" bIns="0"/>
          <a:lstStyle/>
          <a:p>
            <a:endParaRPr lang="fr-FR" dirty="0">
              <a:latin typeface="+mj-lt"/>
            </a:endParaRPr>
          </a:p>
        </p:txBody>
      </p:sp>
      <p:sp>
        <p:nvSpPr>
          <p:cNvPr id="14" name="AutoShape 23">
            <a:extLst>
              <a:ext uri="{FF2B5EF4-FFF2-40B4-BE49-F238E27FC236}">
                <a16:creationId xmlns:a16="http://schemas.microsoft.com/office/drawing/2014/main" id="{11D7D80D-A55B-4775-AB33-5D0259829CD4}"/>
              </a:ext>
            </a:extLst>
          </p:cNvPr>
          <p:cNvSpPr>
            <a:spLocks/>
          </p:cNvSpPr>
          <p:nvPr/>
        </p:nvSpPr>
        <p:spPr bwMode="auto">
          <a:xfrm>
            <a:off x="7493979" y="5595149"/>
            <a:ext cx="491075" cy="343338"/>
          </a:xfrm>
          <a:custGeom>
            <a:avLst/>
            <a:gdLst/>
            <a:ahLst/>
            <a:cxnLst/>
            <a:rect l="0" t="0" r="r" b="b"/>
            <a:pathLst>
              <a:path w="21600" h="21600">
                <a:moveTo>
                  <a:pt x="13935" y="0"/>
                </a:moveTo>
                <a:cubicBezTo>
                  <a:pt x="13758" y="0"/>
                  <a:pt x="13594" y="56"/>
                  <a:pt x="13443" y="147"/>
                </a:cubicBezTo>
                <a:lnTo>
                  <a:pt x="13437" y="139"/>
                </a:lnTo>
                <a:lnTo>
                  <a:pt x="13412" y="163"/>
                </a:lnTo>
                <a:cubicBezTo>
                  <a:pt x="13360" y="197"/>
                  <a:pt x="13312" y="234"/>
                  <a:pt x="13265" y="277"/>
                </a:cubicBezTo>
                <a:lnTo>
                  <a:pt x="7727" y="4460"/>
                </a:lnTo>
                <a:cubicBezTo>
                  <a:pt x="7342" y="4724"/>
                  <a:pt x="7081" y="5258"/>
                  <a:pt x="7081" y="5871"/>
                </a:cubicBezTo>
                <a:cubicBezTo>
                  <a:pt x="7081" y="6746"/>
                  <a:pt x="7614" y="7453"/>
                  <a:pt x="8274" y="7453"/>
                </a:cubicBezTo>
                <a:cubicBezTo>
                  <a:pt x="8420" y="7453"/>
                  <a:pt x="8562" y="7419"/>
                  <a:pt x="8692" y="7355"/>
                </a:cubicBezTo>
                <a:cubicBezTo>
                  <a:pt x="8774" y="7314"/>
                  <a:pt x="8853" y="7262"/>
                  <a:pt x="8925" y="7200"/>
                </a:cubicBezTo>
                <a:cubicBezTo>
                  <a:pt x="9502" y="6817"/>
                  <a:pt x="11015" y="5806"/>
                  <a:pt x="11808" y="5251"/>
                </a:cubicBezTo>
                <a:cubicBezTo>
                  <a:pt x="12801" y="4557"/>
                  <a:pt x="13443" y="5325"/>
                  <a:pt x="13443" y="5325"/>
                </a:cubicBezTo>
                <a:lnTo>
                  <a:pt x="18096" y="11375"/>
                </a:lnTo>
                <a:lnTo>
                  <a:pt x="18102" y="11383"/>
                </a:lnTo>
                <a:cubicBezTo>
                  <a:pt x="18321" y="11706"/>
                  <a:pt x="18635" y="11905"/>
                  <a:pt x="18988" y="11905"/>
                </a:cubicBezTo>
                <a:cubicBezTo>
                  <a:pt x="19012" y="11905"/>
                  <a:pt x="19038" y="11907"/>
                  <a:pt x="19061" y="11905"/>
                </a:cubicBezTo>
                <a:lnTo>
                  <a:pt x="19068" y="11905"/>
                </a:lnTo>
                <a:lnTo>
                  <a:pt x="19104" y="11897"/>
                </a:lnTo>
                <a:cubicBezTo>
                  <a:pt x="19149" y="11891"/>
                  <a:pt x="19196" y="11885"/>
                  <a:pt x="19240" y="11872"/>
                </a:cubicBezTo>
                <a:lnTo>
                  <a:pt x="21600" y="11375"/>
                </a:lnTo>
                <a:lnTo>
                  <a:pt x="21600" y="2675"/>
                </a:lnTo>
                <a:cubicBezTo>
                  <a:pt x="21600" y="2675"/>
                  <a:pt x="20595" y="2978"/>
                  <a:pt x="19172" y="3441"/>
                </a:cubicBezTo>
                <a:cubicBezTo>
                  <a:pt x="17749" y="3904"/>
                  <a:pt x="17445" y="3612"/>
                  <a:pt x="17445" y="3612"/>
                </a:cubicBezTo>
                <a:lnTo>
                  <a:pt x="14802" y="489"/>
                </a:lnTo>
                <a:cubicBezTo>
                  <a:pt x="14582" y="187"/>
                  <a:pt x="14275" y="0"/>
                  <a:pt x="13935" y="0"/>
                </a:cubicBezTo>
                <a:close/>
                <a:moveTo>
                  <a:pt x="8261" y="261"/>
                </a:moveTo>
                <a:cubicBezTo>
                  <a:pt x="7715" y="254"/>
                  <a:pt x="7315" y="440"/>
                  <a:pt x="7315" y="440"/>
                </a:cubicBezTo>
                <a:cubicBezTo>
                  <a:pt x="7315" y="440"/>
                  <a:pt x="5041" y="1964"/>
                  <a:pt x="4155" y="2658"/>
                </a:cubicBezTo>
                <a:cubicBezTo>
                  <a:pt x="3270" y="3353"/>
                  <a:pt x="2360" y="2846"/>
                  <a:pt x="2360" y="2846"/>
                </a:cubicBezTo>
                <a:lnTo>
                  <a:pt x="0" y="1647"/>
                </a:lnTo>
                <a:lnTo>
                  <a:pt x="0" y="11628"/>
                </a:lnTo>
                <a:lnTo>
                  <a:pt x="1156" y="12190"/>
                </a:lnTo>
                <a:lnTo>
                  <a:pt x="1260" y="12280"/>
                </a:lnTo>
                <a:cubicBezTo>
                  <a:pt x="1271" y="12239"/>
                  <a:pt x="1284" y="12197"/>
                  <a:pt x="1297" y="12158"/>
                </a:cubicBezTo>
                <a:cubicBezTo>
                  <a:pt x="1403" y="11214"/>
                  <a:pt x="2013" y="10486"/>
                  <a:pt x="2754" y="10486"/>
                </a:cubicBezTo>
                <a:cubicBezTo>
                  <a:pt x="3570" y="10486"/>
                  <a:pt x="4235" y="11369"/>
                  <a:pt x="4235" y="12451"/>
                </a:cubicBezTo>
                <a:cubicBezTo>
                  <a:pt x="4235" y="12511"/>
                  <a:pt x="4227" y="12572"/>
                  <a:pt x="4223" y="12631"/>
                </a:cubicBezTo>
                <a:cubicBezTo>
                  <a:pt x="4248" y="12629"/>
                  <a:pt x="4277" y="12622"/>
                  <a:pt x="4303" y="12622"/>
                </a:cubicBezTo>
                <a:cubicBezTo>
                  <a:pt x="5119" y="12622"/>
                  <a:pt x="5778" y="13497"/>
                  <a:pt x="5778" y="14579"/>
                </a:cubicBezTo>
                <a:cubicBezTo>
                  <a:pt x="5778" y="14612"/>
                  <a:pt x="5779" y="14645"/>
                  <a:pt x="5778" y="14677"/>
                </a:cubicBezTo>
                <a:cubicBezTo>
                  <a:pt x="5841" y="14667"/>
                  <a:pt x="5904" y="14661"/>
                  <a:pt x="5969" y="14661"/>
                </a:cubicBezTo>
                <a:cubicBezTo>
                  <a:pt x="6813" y="14661"/>
                  <a:pt x="7499" y="15544"/>
                  <a:pt x="7542" y="16650"/>
                </a:cubicBezTo>
                <a:cubicBezTo>
                  <a:pt x="7666" y="16614"/>
                  <a:pt x="7792" y="16593"/>
                  <a:pt x="7923" y="16593"/>
                </a:cubicBezTo>
                <a:cubicBezTo>
                  <a:pt x="8889" y="16593"/>
                  <a:pt x="9675" y="17628"/>
                  <a:pt x="9675" y="18909"/>
                </a:cubicBezTo>
                <a:cubicBezTo>
                  <a:pt x="9675" y="18957"/>
                  <a:pt x="9671" y="19009"/>
                  <a:pt x="9669" y="19056"/>
                </a:cubicBezTo>
                <a:cubicBezTo>
                  <a:pt x="9675" y="19096"/>
                  <a:pt x="9683" y="19137"/>
                  <a:pt x="9687" y="19178"/>
                </a:cubicBezTo>
                <a:lnTo>
                  <a:pt x="9933" y="19374"/>
                </a:lnTo>
                <a:lnTo>
                  <a:pt x="10339" y="19953"/>
                </a:lnTo>
                <a:cubicBezTo>
                  <a:pt x="10510" y="20264"/>
                  <a:pt x="10789" y="20467"/>
                  <a:pt x="11101" y="20467"/>
                </a:cubicBezTo>
                <a:cubicBezTo>
                  <a:pt x="11620" y="20467"/>
                  <a:pt x="12042" y="19915"/>
                  <a:pt x="12042" y="19227"/>
                </a:cubicBezTo>
                <a:cubicBezTo>
                  <a:pt x="12042" y="18969"/>
                  <a:pt x="11977" y="18725"/>
                  <a:pt x="11876" y="18526"/>
                </a:cubicBezTo>
                <a:lnTo>
                  <a:pt x="11882" y="18518"/>
                </a:lnTo>
                <a:lnTo>
                  <a:pt x="11845" y="18469"/>
                </a:lnTo>
                <a:cubicBezTo>
                  <a:pt x="11797" y="18386"/>
                  <a:pt x="11741" y="18313"/>
                  <a:pt x="11679" y="18249"/>
                </a:cubicBezTo>
                <a:lnTo>
                  <a:pt x="10419" y="16553"/>
                </a:lnTo>
                <a:cubicBezTo>
                  <a:pt x="10386" y="16514"/>
                  <a:pt x="10364" y="16460"/>
                  <a:pt x="10364" y="16398"/>
                </a:cubicBezTo>
                <a:cubicBezTo>
                  <a:pt x="10364" y="16282"/>
                  <a:pt x="10436" y="16186"/>
                  <a:pt x="10523" y="16186"/>
                </a:cubicBezTo>
                <a:cubicBezTo>
                  <a:pt x="10568" y="16186"/>
                  <a:pt x="10605" y="16211"/>
                  <a:pt x="10634" y="16251"/>
                </a:cubicBezTo>
                <a:lnTo>
                  <a:pt x="12447" y="18656"/>
                </a:lnTo>
                <a:lnTo>
                  <a:pt x="12454" y="18648"/>
                </a:lnTo>
                <a:cubicBezTo>
                  <a:pt x="12616" y="18828"/>
                  <a:pt x="12821" y="18942"/>
                  <a:pt x="13050" y="18942"/>
                </a:cubicBezTo>
                <a:cubicBezTo>
                  <a:pt x="13569" y="18942"/>
                  <a:pt x="13990" y="18383"/>
                  <a:pt x="13990" y="17694"/>
                </a:cubicBezTo>
                <a:cubicBezTo>
                  <a:pt x="13990" y="17452"/>
                  <a:pt x="13939" y="17225"/>
                  <a:pt x="13849" y="17034"/>
                </a:cubicBezTo>
                <a:lnTo>
                  <a:pt x="13855" y="17026"/>
                </a:lnTo>
                <a:lnTo>
                  <a:pt x="13806" y="16952"/>
                </a:lnTo>
                <a:cubicBezTo>
                  <a:pt x="13761" y="16871"/>
                  <a:pt x="13711" y="16797"/>
                  <a:pt x="13652" y="16732"/>
                </a:cubicBezTo>
                <a:lnTo>
                  <a:pt x="12152" y="14604"/>
                </a:lnTo>
                <a:cubicBezTo>
                  <a:pt x="12111" y="14570"/>
                  <a:pt x="12079" y="14509"/>
                  <a:pt x="12079" y="14441"/>
                </a:cubicBezTo>
                <a:cubicBezTo>
                  <a:pt x="12079" y="14336"/>
                  <a:pt x="12147" y="14253"/>
                  <a:pt x="12226" y="14253"/>
                </a:cubicBezTo>
                <a:cubicBezTo>
                  <a:pt x="12282" y="14253"/>
                  <a:pt x="12325" y="14297"/>
                  <a:pt x="12349" y="14359"/>
                </a:cubicBezTo>
                <a:lnTo>
                  <a:pt x="14242" y="16814"/>
                </a:lnTo>
                <a:lnTo>
                  <a:pt x="14248" y="16805"/>
                </a:lnTo>
                <a:cubicBezTo>
                  <a:pt x="14414" y="16998"/>
                  <a:pt x="14626" y="17115"/>
                  <a:pt x="14863" y="17115"/>
                </a:cubicBezTo>
                <a:cubicBezTo>
                  <a:pt x="15382" y="17115"/>
                  <a:pt x="15804" y="16556"/>
                  <a:pt x="15804" y="15868"/>
                </a:cubicBezTo>
                <a:cubicBezTo>
                  <a:pt x="15804" y="15594"/>
                  <a:pt x="15738" y="15339"/>
                  <a:pt x="15625" y="15134"/>
                </a:cubicBezTo>
                <a:lnTo>
                  <a:pt x="15631" y="15126"/>
                </a:lnTo>
                <a:lnTo>
                  <a:pt x="15576" y="15052"/>
                </a:lnTo>
                <a:cubicBezTo>
                  <a:pt x="15555" y="15020"/>
                  <a:pt x="15532" y="14992"/>
                  <a:pt x="15508" y="14963"/>
                </a:cubicBezTo>
                <a:lnTo>
                  <a:pt x="14039" y="12940"/>
                </a:lnTo>
                <a:lnTo>
                  <a:pt x="14039" y="12932"/>
                </a:lnTo>
                <a:cubicBezTo>
                  <a:pt x="14010" y="12894"/>
                  <a:pt x="13990" y="12845"/>
                  <a:pt x="13990" y="12785"/>
                </a:cubicBezTo>
                <a:cubicBezTo>
                  <a:pt x="13990" y="12668"/>
                  <a:pt x="14068" y="12573"/>
                  <a:pt x="14156" y="12573"/>
                </a:cubicBezTo>
                <a:cubicBezTo>
                  <a:pt x="14221" y="12573"/>
                  <a:pt x="14272" y="12623"/>
                  <a:pt x="14298" y="12696"/>
                </a:cubicBezTo>
                <a:lnTo>
                  <a:pt x="15828" y="14620"/>
                </a:lnTo>
                <a:lnTo>
                  <a:pt x="15834" y="14620"/>
                </a:lnTo>
                <a:cubicBezTo>
                  <a:pt x="16004" y="14869"/>
                  <a:pt x="16250" y="15020"/>
                  <a:pt x="16523" y="15020"/>
                </a:cubicBezTo>
                <a:cubicBezTo>
                  <a:pt x="17034" y="15020"/>
                  <a:pt x="17445" y="14475"/>
                  <a:pt x="17445" y="13797"/>
                </a:cubicBezTo>
                <a:cubicBezTo>
                  <a:pt x="17445" y="13412"/>
                  <a:pt x="17315" y="13068"/>
                  <a:pt x="17107" y="12843"/>
                </a:cubicBezTo>
                <a:cubicBezTo>
                  <a:pt x="16574" y="12133"/>
                  <a:pt x="13897" y="8561"/>
                  <a:pt x="13173" y="7648"/>
                </a:cubicBezTo>
                <a:cubicBezTo>
                  <a:pt x="12367" y="6634"/>
                  <a:pt x="11384" y="7200"/>
                  <a:pt x="11384" y="7200"/>
                </a:cubicBezTo>
                <a:lnTo>
                  <a:pt x="9054" y="8594"/>
                </a:lnTo>
                <a:cubicBezTo>
                  <a:pt x="8739" y="8846"/>
                  <a:pt x="8374" y="8994"/>
                  <a:pt x="7979" y="8994"/>
                </a:cubicBezTo>
                <a:cubicBezTo>
                  <a:pt x="6820" y="8994"/>
                  <a:pt x="5883" y="7750"/>
                  <a:pt x="5883" y="6213"/>
                </a:cubicBezTo>
                <a:cubicBezTo>
                  <a:pt x="5883" y="5220"/>
                  <a:pt x="6276" y="4349"/>
                  <a:pt x="6866" y="3857"/>
                </a:cubicBezTo>
                <a:lnTo>
                  <a:pt x="6854" y="3832"/>
                </a:lnTo>
                <a:lnTo>
                  <a:pt x="10075" y="1239"/>
                </a:lnTo>
                <a:cubicBezTo>
                  <a:pt x="9501" y="465"/>
                  <a:pt x="8807" y="268"/>
                  <a:pt x="8261" y="261"/>
                </a:cubicBezTo>
                <a:close/>
                <a:moveTo>
                  <a:pt x="2920" y="11742"/>
                </a:moveTo>
                <a:cubicBezTo>
                  <a:pt x="2178" y="11742"/>
                  <a:pt x="1574" y="12551"/>
                  <a:pt x="1574" y="13544"/>
                </a:cubicBezTo>
                <a:cubicBezTo>
                  <a:pt x="1574" y="14537"/>
                  <a:pt x="2178" y="15338"/>
                  <a:pt x="2920" y="15338"/>
                </a:cubicBezTo>
                <a:cubicBezTo>
                  <a:pt x="2943" y="15338"/>
                  <a:pt x="2964" y="15339"/>
                  <a:pt x="2987" y="15338"/>
                </a:cubicBezTo>
                <a:cubicBezTo>
                  <a:pt x="2984" y="15391"/>
                  <a:pt x="2981" y="15446"/>
                  <a:pt x="2981" y="15501"/>
                </a:cubicBezTo>
                <a:cubicBezTo>
                  <a:pt x="2981" y="16494"/>
                  <a:pt x="3579" y="17295"/>
                  <a:pt x="4321" y="17295"/>
                </a:cubicBezTo>
                <a:cubicBezTo>
                  <a:pt x="4350" y="17295"/>
                  <a:pt x="4379" y="17289"/>
                  <a:pt x="4407" y="17287"/>
                </a:cubicBezTo>
                <a:cubicBezTo>
                  <a:pt x="4402" y="17354"/>
                  <a:pt x="4401" y="17429"/>
                  <a:pt x="4401" y="17499"/>
                </a:cubicBezTo>
                <a:cubicBezTo>
                  <a:pt x="4401" y="18561"/>
                  <a:pt x="5046" y="19423"/>
                  <a:pt x="5839" y="19423"/>
                </a:cubicBezTo>
                <a:cubicBezTo>
                  <a:pt x="5905" y="19423"/>
                  <a:pt x="5966" y="19410"/>
                  <a:pt x="6030" y="19398"/>
                </a:cubicBezTo>
                <a:cubicBezTo>
                  <a:pt x="6029" y="19422"/>
                  <a:pt x="6030" y="19448"/>
                  <a:pt x="6030" y="19472"/>
                </a:cubicBezTo>
                <a:cubicBezTo>
                  <a:pt x="6030" y="20648"/>
                  <a:pt x="6744" y="21600"/>
                  <a:pt x="7622" y="21600"/>
                </a:cubicBezTo>
                <a:cubicBezTo>
                  <a:pt x="8501" y="21600"/>
                  <a:pt x="9208" y="20648"/>
                  <a:pt x="9208" y="19472"/>
                </a:cubicBezTo>
                <a:cubicBezTo>
                  <a:pt x="9208" y="18296"/>
                  <a:pt x="8501" y="17344"/>
                  <a:pt x="7622" y="17344"/>
                </a:cubicBezTo>
                <a:cubicBezTo>
                  <a:pt x="7502" y="17344"/>
                  <a:pt x="7384" y="17359"/>
                  <a:pt x="7272" y="17393"/>
                </a:cubicBezTo>
                <a:cubicBezTo>
                  <a:pt x="7232" y="16377"/>
                  <a:pt x="6608" y="15574"/>
                  <a:pt x="5839" y="15574"/>
                </a:cubicBezTo>
                <a:cubicBezTo>
                  <a:pt x="5781" y="15574"/>
                  <a:pt x="5718" y="15581"/>
                  <a:pt x="5661" y="15590"/>
                </a:cubicBezTo>
                <a:cubicBezTo>
                  <a:pt x="5662" y="15560"/>
                  <a:pt x="5667" y="15531"/>
                  <a:pt x="5667" y="15501"/>
                </a:cubicBezTo>
                <a:cubicBezTo>
                  <a:pt x="5667" y="14508"/>
                  <a:pt x="5063" y="13699"/>
                  <a:pt x="4321" y="13699"/>
                </a:cubicBezTo>
                <a:cubicBezTo>
                  <a:pt x="4298" y="13699"/>
                  <a:pt x="4277" y="13705"/>
                  <a:pt x="4254" y="13707"/>
                </a:cubicBezTo>
                <a:cubicBezTo>
                  <a:pt x="4257" y="13653"/>
                  <a:pt x="4260" y="13599"/>
                  <a:pt x="4260" y="13544"/>
                </a:cubicBezTo>
                <a:cubicBezTo>
                  <a:pt x="4260" y="12551"/>
                  <a:pt x="3662" y="11742"/>
                  <a:pt x="2920" y="11742"/>
                </a:cubicBezTo>
                <a:close/>
                <a:moveTo>
                  <a:pt x="2920" y="11742"/>
                </a:moveTo>
              </a:path>
            </a:pathLst>
          </a:custGeom>
          <a:solidFill>
            <a:schemeClr val="accent5"/>
          </a:solidFill>
          <a:ln>
            <a:noFill/>
          </a:ln>
        </p:spPr>
        <p:txBody>
          <a:bodyPr lIns="0" tIns="0" rIns="0" bIns="0"/>
          <a:lstStyle/>
          <a:p>
            <a:endParaRPr lang="fr-FR" dirty="0">
              <a:latin typeface="+mj-lt"/>
            </a:endParaRPr>
          </a:p>
        </p:txBody>
      </p:sp>
      <p:sp>
        <p:nvSpPr>
          <p:cNvPr id="15" name="Rectangle 14">
            <a:extLst>
              <a:ext uri="{FF2B5EF4-FFF2-40B4-BE49-F238E27FC236}">
                <a16:creationId xmlns:a16="http://schemas.microsoft.com/office/drawing/2014/main" id="{51787CE7-0093-4AEA-B8EA-12027B5892D3}"/>
              </a:ext>
            </a:extLst>
          </p:cNvPr>
          <p:cNvSpPr/>
          <p:nvPr/>
        </p:nvSpPr>
        <p:spPr>
          <a:xfrm>
            <a:off x="7268523" y="1622234"/>
            <a:ext cx="4710951" cy="4506268"/>
          </a:xfrm>
          <a:prstGeom prst="rect">
            <a:avLst/>
          </a:prstGeom>
          <a:noFill/>
          <a:ln w="12700">
            <a:solidFill>
              <a:srgbClr val="648D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sp>
        <p:nvSpPr>
          <p:cNvPr id="16" name="Rectangle 395">
            <a:extLst>
              <a:ext uri="{FF2B5EF4-FFF2-40B4-BE49-F238E27FC236}">
                <a16:creationId xmlns:a16="http://schemas.microsoft.com/office/drawing/2014/main" id="{7C150236-0C1D-42D0-95B9-1172F8B361A4}"/>
              </a:ext>
            </a:extLst>
          </p:cNvPr>
          <p:cNvSpPr>
            <a:spLocks noChangeArrowheads="1"/>
          </p:cNvSpPr>
          <p:nvPr/>
        </p:nvSpPr>
        <p:spPr bwMode="gray">
          <a:xfrm>
            <a:off x="7264792" y="1222184"/>
            <a:ext cx="4734000" cy="400551"/>
          </a:xfrm>
          <a:prstGeom prst="rect">
            <a:avLst/>
          </a:prstGeom>
          <a:solidFill>
            <a:schemeClr val="accent1">
              <a:lumMod val="75000"/>
            </a:schemeClr>
          </a:solidFill>
          <a:ln w="9525">
            <a:noFill/>
            <a:miter lim="800000"/>
            <a:headEnd/>
            <a:tailEnd/>
          </a:ln>
          <a:effectLst/>
        </p:spPr>
        <p:txBody>
          <a:bodyPr lIns="108000" tIns="0" rIns="108000" bIns="0" anchor="ctr"/>
          <a:lstStyle>
            <a:lvl1pPr defTabSz="801688">
              <a:defRPr>
                <a:solidFill>
                  <a:schemeClr val="tx1"/>
                </a:solidFill>
                <a:latin typeface="Arial" charset="0"/>
                <a:cs typeface="Arial" charset="0"/>
              </a:defRPr>
            </a:lvl1pPr>
            <a:lvl2pPr marL="742950" indent="-285750" defTabSz="801688">
              <a:defRPr>
                <a:solidFill>
                  <a:schemeClr val="tx1"/>
                </a:solidFill>
                <a:latin typeface="Arial" charset="0"/>
                <a:cs typeface="Arial" charset="0"/>
              </a:defRPr>
            </a:lvl2pPr>
            <a:lvl3pPr marL="1143000" indent="-228600" defTabSz="801688">
              <a:defRPr>
                <a:solidFill>
                  <a:schemeClr val="tx1"/>
                </a:solidFill>
                <a:latin typeface="Arial" charset="0"/>
                <a:cs typeface="Arial" charset="0"/>
              </a:defRPr>
            </a:lvl3pPr>
            <a:lvl4pPr marL="1600200" indent="-228600" defTabSz="801688">
              <a:defRPr>
                <a:solidFill>
                  <a:schemeClr val="tx1"/>
                </a:solidFill>
                <a:latin typeface="Arial" charset="0"/>
                <a:cs typeface="Arial" charset="0"/>
              </a:defRPr>
            </a:lvl4pPr>
            <a:lvl5pPr marL="2057400" indent="-228600" defTabSz="801688">
              <a:defRPr>
                <a:solidFill>
                  <a:schemeClr val="tx1"/>
                </a:solidFill>
                <a:latin typeface="Arial" charset="0"/>
                <a:cs typeface="Arial" charset="0"/>
              </a:defRPr>
            </a:lvl5pPr>
            <a:lvl6pPr marL="2514600" indent="-228600" defTabSz="801688" fontAlgn="base">
              <a:spcBef>
                <a:spcPct val="0"/>
              </a:spcBef>
              <a:spcAft>
                <a:spcPct val="0"/>
              </a:spcAft>
              <a:defRPr>
                <a:solidFill>
                  <a:schemeClr val="tx1"/>
                </a:solidFill>
                <a:latin typeface="Arial" charset="0"/>
                <a:cs typeface="Arial" charset="0"/>
              </a:defRPr>
            </a:lvl6pPr>
            <a:lvl7pPr marL="2971800" indent="-228600" defTabSz="801688" fontAlgn="base">
              <a:spcBef>
                <a:spcPct val="0"/>
              </a:spcBef>
              <a:spcAft>
                <a:spcPct val="0"/>
              </a:spcAft>
              <a:defRPr>
                <a:solidFill>
                  <a:schemeClr val="tx1"/>
                </a:solidFill>
                <a:latin typeface="Arial" charset="0"/>
                <a:cs typeface="Arial" charset="0"/>
              </a:defRPr>
            </a:lvl7pPr>
            <a:lvl8pPr marL="3429000" indent="-228600" defTabSz="801688" fontAlgn="base">
              <a:spcBef>
                <a:spcPct val="0"/>
              </a:spcBef>
              <a:spcAft>
                <a:spcPct val="0"/>
              </a:spcAft>
              <a:defRPr>
                <a:solidFill>
                  <a:schemeClr val="tx1"/>
                </a:solidFill>
                <a:latin typeface="Arial" charset="0"/>
                <a:cs typeface="Arial" charset="0"/>
              </a:defRPr>
            </a:lvl8pPr>
            <a:lvl9pPr marL="3886200" indent="-228600" defTabSz="801688" fontAlgn="base">
              <a:spcBef>
                <a:spcPct val="0"/>
              </a:spcBef>
              <a:spcAft>
                <a:spcPct val="0"/>
              </a:spcAft>
              <a:defRPr>
                <a:solidFill>
                  <a:schemeClr val="tx1"/>
                </a:solidFill>
                <a:latin typeface="Arial" charset="0"/>
                <a:cs typeface="Arial" charset="0"/>
              </a:defRPr>
            </a:lvl9pPr>
          </a:lstStyle>
          <a:p>
            <a:pPr marL="0" marR="0" lvl="0" indent="0" algn="ctr" defTabSz="801688" eaLnBrk="0" fontAlgn="auto" latinLnBrk="0" hangingPunct="0">
              <a:lnSpc>
                <a:spcPct val="100000"/>
              </a:lnSpc>
              <a:spcBef>
                <a:spcPts val="0"/>
              </a:spcBef>
              <a:spcAft>
                <a:spcPts val="0"/>
              </a:spcAft>
              <a:buClrTx/>
              <a:buSzTx/>
              <a:buFontTx/>
              <a:buNone/>
              <a:tabLst/>
              <a:defRPr/>
            </a:pPr>
            <a:r>
              <a:rPr kumimoji="0" lang="fr-FR" sz="1200" b="1" i="0" u="none" strike="noStrike" kern="0" cap="none" spc="0" normalizeH="0" baseline="0" noProof="1">
                <a:ln>
                  <a:noFill/>
                </a:ln>
                <a:solidFill>
                  <a:srgbClr val="FFFFFF"/>
                </a:solidFill>
                <a:effectLst/>
                <a:uLnTx/>
                <a:uFillTx/>
                <a:latin typeface="+mj-lt"/>
                <a:ea typeface="Segoe UI Symbol" panose="020B0502040204020203" pitchFamily="34" charset="0"/>
              </a:rPr>
              <a:t>Bilan personnel</a:t>
            </a:r>
          </a:p>
        </p:txBody>
      </p:sp>
      <p:sp>
        <p:nvSpPr>
          <p:cNvPr id="17" name="AutoShape 9">
            <a:extLst>
              <a:ext uri="{FF2B5EF4-FFF2-40B4-BE49-F238E27FC236}">
                <a16:creationId xmlns:a16="http://schemas.microsoft.com/office/drawing/2014/main" id="{F9440DDC-A728-41AC-92F9-5C253688B567}"/>
              </a:ext>
            </a:extLst>
          </p:cNvPr>
          <p:cNvSpPr>
            <a:spLocks/>
          </p:cNvSpPr>
          <p:nvPr/>
        </p:nvSpPr>
        <p:spPr bwMode="auto">
          <a:xfrm>
            <a:off x="7483473" y="1820637"/>
            <a:ext cx="403502" cy="436904"/>
          </a:xfrm>
          <a:custGeom>
            <a:avLst/>
            <a:gdLst/>
            <a:ahLst/>
            <a:cxnLst/>
            <a:rect l="0" t="0" r="r" b="b"/>
            <a:pathLst>
              <a:path w="20651" h="21600">
                <a:moveTo>
                  <a:pt x="9044" y="0"/>
                </a:moveTo>
                <a:cubicBezTo>
                  <a:pt x="4074" y="0"/>
                  <a:pt x="45" y="3606"/>
                  <a:pt x="45" y="8054"/>
                </a:cubicBezTo>
                <a:cubicBezTo>
                  <a:pt x="45" y="8054"/>
                  <a:pt x="-751" y="12302"/>
                  <a:pt x="4337" y="16786"/>
                </a:cubicBezTo>
                <a:lnTo>
                  <a:pt x="4337" y="21600"/>
                </a:lnTo>
                <a:lnTo>
                  <a:pt x="13909" y="21600"/>
                </a:lnTo>
                <a:lnTo>
                  <a:pt x="13909" y="18265"/>
                </a:lnTo>
                <a:cubicBezTo>
                  <a:pt x="13909" y="17800"/>
                  <a:pt x="14330" y="17423"/>
                  <a:pt x="14850" y="17423"/>
                </a:cubicBezTo>
                <a:lnTo>
                  <a:pt x="17575" y="17423"/>
                </a:lnTo>
                <a:cubicBezTo>
                  <a:pt x="18095" y="17423"/>
                  <a:pt x="18517" y="17046"/>
                  <a:pt x="18517" y="16580"/>
                </a:cubicBezTo>
                <a:lnTo>
                  <a:pt x="18201" y="15042"/>
                </a:lnTo>
                <a:cubicBezTo>
                  <a:pt x="18201" y="15042"/>
                  <a:pt x="17998" y="14332"/>
                  <a:pt x="18912" y="14111"/>
                </a:cubicBezTo>
                <a:lnTo>
                  <a:pt x="18747" y="13410"/>
                </a:lnTo>
                <a:cubicBezTo>
                  <a:pt x="19348" y="13043"/>
                  <a:pt x="19056" y="12797"/>
                  <a:pt x="19056" y="12797"/>
                </a:cubicBezTo>
                <a:cubicBezTo>
                  <a:pt x="18202" y="12079"/>
                  <a:pt x="18793" y="11584"/>
                  <a:pt x="18793" y="11584"/>
                </a:cubicBezTo>
                <a:cubicBezTo>
                  <a:pt x="18793" y="11584"/>
                  <a:pt x="19489" y="11455"/>
                  <a:pt x="20169" y="11377"/>
                </a:cubicBezTo>
                <a:cubicBezTo>
                  <a:pt x="20849" y="11299"/>
                  <a:pt x="20610" y="10788"/>
                  <a:pt x="20610" y="10788"/>
                </a:cubicBezTo>
                <a:cubicBezTo>
                  <a:pt x="20610" y="10788"/>
                  <a:pt x="18043" y="8054"/>
                  <a:pt x="18043" y="8054"/>
                </a:cubicBezTo>
                <a:cubicBezTo>
                  <a:pt x="18043" y="3606"/>
                  <a:pt x="14014" y="0"/>
                  <a:pt x="9044" y="0"/>
                </a:cubicBezTo>
                <a:close/>
                <a:moveTo>
                  <a:pt x="8965" y="937"/>
                </a:moveTo>
                <a:cubicBezTo>
                  <a:pt x="13314" y="937"/>
                  <a:pt x="16838" y="4091"/>
                  <a:pt x="16838" y="7984"/>
                </a:cubicBezTo>
                <a:cubicBezTo>
                  <a:pt x="16838" y="11876"/>
                  <a:pt x="13314" y="15030"/>
                  <a:pt x="8965" y="15030"/>
                </a:cubicBezTo>
                <a:cubicBezTo>
                  <a:pt x="4616" y="15030"/>
                  <a:pt x="1092" y="11876"/>
                  <a:pt x="1092" y="7984"/>
                </a:cubicBezTo>
                <a:cubicBezTo>
                  <a:pt x="1092" y="4091"/>
                  <a:pt x="4616" y="937"/>
                  <a:pt x="8965" y="937"/>
                </a:cubicBezTo>
                <a:close/>
                <a:moveTo>
                  <a:pt x="6845" y="3582"/>
                </a:moveTo>
                <a:lnTo>
                  <a:pt x="6648" y="4071"/>
                </a:lnTo>
                <a:cubicBezTo>
                  <a:pt x="6573" y="4259"/>
                  <a:pt x="6419" y="4414"/>
                  <a:pt x="6213" y="4490"/>
                </a:cubicBezTo>
                <a:cubicBezTo>
                  <a:pt x="6007" y="4566"/>
                  <a:pt x="5770" y="4558"/>
                  <a:pt x="5568" y="4472"/>
                </a:cubicBezTo>
                <a:lnTo>
                  <a:pt x="5048" y="4248"/>
                </a:lnTo>
                <a:lnTo>
                  <a:pt x="4324" y="4896"/>
                </a:lnTo>
                <a:lnTo>
                  <a:pt x="4574" y="5362"/>
                </a:lnTo>
                <a:cubicBezTo>
                  <a:pt x="4670" y="5542"/>
                  <a:pt x="4679" y="5755"/>
                  <a:pt x="4594" y="5939"/>
                </a:cubicBezTo>
                <a:cubicBezTo>
                  <a:pt x="4509" y="6123"/>
                  <a:pt x="4336" y="6261"/>
                  <a:pt x="4127" y="6328"/>
                </a:cubicBezTo>
                <a:lnTo>
                  <a:pt x="3580" y="6505"/>
                </a:lnTo>
                <a:lnTo>
                  <a:pt x="3580" y="7418"/>
                </a:lnTo>
                <a:lnTo>
                  <a:pt x="4127" y="7589"/>
                </a:lnTo>
                <a:cubicBezTo>
                  <a:pt x="4336" y="7656"/>
                  <a:pt x="4509" y="7800"/>
                  <a:pt x="4594" y="7984"/>
                </a:cubicBezTo>
                <a:cubicBezTo>
                  <a:pt x="4679" y="8168"/>
                  <a:pt x="4670" y="8375"/>
                  <a:pt x="4574" y="8555"/>
                </a:cubicBezTo>
                <a:lnTo>
                  <a:pt x="4324" y="9027"/>
                </a:lnTo>
                <a:lnTo>
                  <a:pt x="5048" y="9669"/>
                </a:lnTo>
                <a:lnTo>
                  <a:pt x="5568" y="9445"/>
                </a:lnTo>
                <a:cubicBezTo>
                  <a:pt x="5769" y="9359"/>
                  <a:pt x="6007" y="9357"/>
                  <a:pt x="6213" y="9433"/>
                </a:cubicBezTo>
                <a:cubicBezTo>
                  <a:pt x="6419" y="9509"/>
                  <a:pt x="6573" y="9658"/>
                  <a:pt x="6648" y="9845"/>
                </a:cubicBezTo>
                <a:lnTo>
                  <a:pt x="6845" y="10340"/>
                </a:lnTo>
                <a:lnTo>
                  <a:pt x="7866" y="10340"/>
                </a:lnTo>
                <a:lnTo>
                  <a:pt x="8057" y="9851"/>
                </a:lnTo>
                <a:cubicBezTo>
                  <a:pt x="8132" y="9662"/>
                  <a:pt x="8290" y="9510"/>
                  <a:pt x="8498" y="9433"/>
                </a:cubicBezTo>
                <a:cubicBezTo>
                  <a:pt x="8702" y="9357"/>
                  <a:pt x="8937" y="9360"/>
                  <a:pt x="9136" y="9445"/>
                </a:cubicBezTo>
                <a:lnTo>
                  <a:pt x="9663" y="9669"/>
                </a:lnTo>
                <a:lnTo>
                  <a:pt x="10380" y="9027"/>
                </a:lnTo>
                <a:lnTo>
                  <a:pt x="10130" y="8555"/>
                </a:lnTo>
                <a:cubicBezTo>
                  <a:pt x="10035" y="8375"/>
                  <a:pt x="10032" y="8168"/>
                  <a:pt x="10117" y="7984"/>
                </a:cubicBezTo>
                <a:cubicBezTo>
                  <a:pt x="10202" y="7799"/>
                  <a:pt x="10368" y="7656"/>
                  <a:pt x="10578" y="7589"/>
                </a:cubicBezTo>
                <a:lnTo>
                  <a:pt x="11131" y="7418"/>
                </a:lnTo>
                <a:lnTo>
                  <a:pt x="11131" y="6505"/>
                </a:lnTo>
                <a:lnTo>
                  <a:pt x="10578" y="6328"/>
                </a:lnTo>
                <a:cubicBezTo>
                  <a:pt x="10368" y="6261"/>
                  <a:pt x="10202" y="6123"/>
                  <a:pt x="10117" y="5939"/>
                </a:cubicBezTo>
                <a:cubicBezTo>
                  <a:pt x="10032" y="5755"/>
                  <a:pt x="10035" y="5542"/>
                  <a:pt x="10130" y="5362"/>
                </a:cubicBezTo>
                <a:lnTo>
                  <a:pt x="10380" y="4896"/>
                </a:lnTo>
                <a:lnTo>
                  <a:pt x="9663" y="4248"/>
                </a:lnTo>
                <a:lnTo>
                  <a:pt x="9136" y="4472"/>
                </a:lnTo>
                <a:cubicBezTo>
                  <a:pt x="8935" y="4558"/>
                  <a:pt x="8703" y="4566"/>
                  <a:pt x="8498" y="4490"/>
                </a:cubicBezTo>
                <a:cubicBezTo>
                  <a:pt x="8292" y="4413"/>
                  <a:pt x="8131" y="4259"/>
                  <a:pt x="8057" y="4071"/>
                </a:cubicBezTo>
                <a:lnTo>
                  <a:pt x="7866" y="3582"/>
                </a:lnTo>
                <a:lnTo>
                  <a:pt x="6845" y="3582"/>
                </a:lnTo>
                <a:close/>
                <a:moveTo>
                  <a:pt x="7352" y="5721"/>
                </a:moveTo>
                <a:cubicBezTo>
                  <a:pt x="8117" y="5721"/>
                  <a:pt x="8741" y="6274"/>
                  <a:pt x="8741" y="6958"/>
                </a:cubicBezTo>
                <a:cubicBezTo>
                  <a:pt x="8741" y="7643"/>
                  <a:pt x="8117" y="8202"/>
                  <a:pt x="7352" y="8202"/>
                </a:cubicBezTo>
                <a:cubicBezTo>
                  <a:pt x="6588" y="8202"/>
                  <a:pt x="5970" y="7643"/>
                  <a:pt x="5970" y="6958"/>
                </a:cubicBezTo>
                <a:cubicBezTo>
                  <a:pt x="5970" y="6274"/>
                  <a:pt x="6588" y="5721"/>
                  <a:pt x="7352" y="5721"/>
                </a:cubicBezTo>
                <a:close/>
                <a:moveTo>
                  <a:pt x="12270" y="8107"/>
                </a:moveTo>
                <a:lnTo>
                  <a:pt x="12164" y="8367"/>
                </a:lnTo>
                <a:cubicBezTo>
                  <a:pt x="12125" y="8466"/>
                  <a:pt x="12036" y="8550"/>
                  <a:pt x="11927" y="8591"/>
                </a:cubicBezTo>
                <a:cubicBezTo>
                  <a:pt x="11818" y="8631"/>
                  <a:pt x="11698" y="8624"/>
                  <a:pt x="11591" y="8579"/>
                </a:cubicBezTo>
                <a:lnTo>
                  <a:pt x="11308" y="8461"/>
                </a:lnTo>
                <a:lnTo>
                  <a:pt x="10927" y="8803"/>
                </a:lnTo>
                <a:lnTo>
                  <a:pt x="11058" y="9056"/>
                </a:lnTo>
                <a:cubicBezTo>
                  <a:pt x="11109" y="9152"/>
                  <a:pt x="11117" y="9259"/>
                  <a:pt x="11071" y="9356"/>
                </a:cubicBezTo>
                <a:cubicBezTo>
                  <a:pt x="11026" y="9454"/>
                  <a:pt x="10933" y="9533"/>
                  <a:pt x="10821" y="9569"/>
                </a:cubicBezTo>
                <a:lnTo>
                  <a:pt x="10532" y="9663"/>
                </a:lnTo>
                <a:lnTo>
                  <a:pt x="10532" y="10146"/>
                </a:lnTo>
                <a:lnTo>
                  <a:pt x="10821" y="10240"/>
                </a:lnTo>
                <a:cubicBezTo>
                  <a:pt x="10933" y="10276"/>
                  <a:pt x="11026" y="10349"/>
                  <a:pt x="11071" y="10446"/>
                </a:cubicBezTo>
                <a:cubicBezTo>
                  <a:pt x="11117" y="10545"/>
                  <a:pt x="11109" y="10657"/>
                  <a:pt x="11058" y="10753"/>
                </a:cubicBezTo>
                <a:lnTo>
                  <a:pt x="10927" y="11000"/>
                </a:lnTo>
                <a:lnTo>
                  <a:pt x="11308" y="11342"/>
                </a:lnTo>
                <a:lnTo>
                  <a:pt x="11591" y="11224"/>
                </a:lnTo>
                <a:cubicBezTo>
                  <a:pt x="11698" y="11179"/>
                  <a:pt x="11818" y="11178"/>
                  <a:pt x="11927" y="11218"/>
                </a:cubicBezTo>
                <a:cubicBezTo>
                  <a:pt x="12037" y="11259"/>
                  <a:pt x="12125" y="11337"/>
                  <a:pt x="12164" y="11436"/>
                </a:cubicBezTo>
                <a:lnTo>
                  <a:pt x="12270" y="11701"/>
                </a:lnTo>
                <a:lnTo>
                  <a:pt x="12809" y="11701"/>
                </a:lnTo>
                <a:lnTo>
                  <a:pt x="12915" y="11442"/>
                </a:lnTo>
                <a:cubicBezTo>
                  <a:pt x="12955" y="11342"/>
                  <a:pt x="13035" y="11259"/>
                  <a:pt x="13145" y="11218"/>
                </a:cubicBezTo>
                <a:cubicBezTo>
                  <a:pt x="13253" y="11178"/>
                  <a:pt x="13381" y="11179"/>
                  <a:pt x="13487" y="11224"/>
                </a:cubicBezTo>
                <a:lnTo>
                  <a:pt x="13764" y="11342"/>
                </a:lnTo>
                <a:lnTo>
                  <a:pt x="14146" y="11000"/>
                </a:lnTo>
                <a:lnTo>
                  <a:pt x="14014" y="10753"/>
                </a:lnTo>
                <a:cubicBezTo>
                  <a:pt x="13963" y="10657"/>
                  <a:pt x="13962" y="10544"/>
                  <a:pt x="14007" y="10446"/>
                </a:cubicBezTo>
                <a:cubicBezTo>
                  <a:pt x="14053" y="10349"/>
                  <a:pt x="14140" y="10276"/>
                  <a:pt x="14251" y="10240"/>
                </a:cubicBezTo>
                <a:lnTo>
                  <a:pt x="14547" y="10146"/>
                </a:lnTo>
                <a:lnTo>
                  <a:pt x="14547" y="9663"/>
                </a:lnTo>
                <a:lnTo>
                  <a:pt x="14251" y="9569"/>
                </a:lnTo>
                <a:cubicBezTo>
                  <a:pt x="14140" y="9533"/>
                  <a:pt x="14053" y="9454"/>
                  <a:pt x="14007" y="9356"/>
                </a:cubicBezTo>
                <a:cubicBezTo>
                  <a:pt x="13962" y="9258"/>
                  <a:pt x="13963" y="9152"/>
                  <a:pt x="14014" y="9056"/>
                </a:cubicBezTo>
                <a:lnTo>
                  <a:pt x="14146" y="8803"/>
                </a:lnTo>
                <a:lnTo>
                  <a:pt x="13764" y="8461"/>
                </a:lnTo>
                <a:lnTo>
                  <a:pt x="13487" y="8579"/>
                </a:lnTo>
                <a:cubicBezTo>
                  <a:pt x="13380" y="8624"/>
                  <a:pt x="13254" y="8631"/>
                  <a:pt x="13145" y="8591"/>
                </a:cubicBezTo>
                <a:cubicBezTo>
                  <a:pt x="13036" y="8550"/>
                  <a:pt x="12954" y="8466"/>
                  <a:pt x="12915" y="8367"/>
                </a:cubicBezTo>
                <a:lnTo>
                  <a:pt x="12809" y="8107"/>
                </a:lnTo>
                <a:lnTo>
                  <a:pt x="12270" y="8107"/>
                </a:lnTo>
                <a:close/>
                <a:moveTo>
                  <a:pt x="12539" y="9245"/>
                </a:moveTo>
                <a:cubicBezTo>
                  <a:pt x="12946" y="9245"/>
                  <a:pt x="13277" y="9541"/>
                  <a:pt x="13277" y="9904"/>
                </a:cubicBezTo>
                <a:cubicBezTo>
                  <a:pt x="13277" y="10268"/>
                  <a:pt x="12946" y="10564"/>
                  <a:pt x="12539" y="10564"/>
                </a:cubicBezTo>
                <a:cubicBezTo>
                  <a:pt x="12133" y="10564"/>
                  <a:pt x="11802" y="10268"/>
                  <a:pt x="11802" y="9904"/>
                </a:cubicBezTo>
                <a:cubicBezTo>
                  <a:pt x="11802" y="9541"/>
                  <a:pt x="12133" y="9245"/>
                  <a:pt x="12539" y="9245"/>
                </a:cubicBezTo>
                <a:close/>
                <a:moveTo>
                  <a:pt x="12539" y="9245"/>
                </a:moveTo>
              </a:path>
            </a:pathLst>
          </a:custGeom>
          <a:solidFill>
            <a:schemeClr val="accent5"/>
          </a:solidFill>
          <a:ln>
            <a:noFill/>
          </a:ln>
        </p:spPr>
        <p:txBody>
          <a:bodyPr lIns="0" tIns="0" rIns="0" bIns="0"/>
          <a:lstStyle/>
          <a:p>
            <a:endParaRPr lang="fr-FR" dirty="0">
              <a:latin typeface="+mj-lt"/>
            </a:endParaRPr>
          </a:p>
        </p:txBody>
      </p:sp>
      <p:sp>
        <p:nvSpPr>
          <p:cNvPr id="18" name="ZoneTexte 85">
            <a:extLst>
              <a:ext uri="{FF2B5EF4-FFF2-40B4-BE49-F238E27FC236}">
                <a16:creationId xmlns:a16="http://schemas.microsoft.com/office/drawing/2014/main" id="{49297067-BF34-4891-B38C-A2A217E01B4D}"/>
              </a:ext>
            </a:extLst>
          </p:cNvPr>
          <p:cNvSpPr txBox="1"/>
          <p:nvPr/>
        </p:nvSpPr>
        <p:spPr>
          <a:xfrm>
            <a:off x="8116137" y="1911232"/>
            <a:ext cx="3744000" cy="261610"/>
          </a:xfrm>
          <a:prstGeom prst="rect">
            <a:avLst/>
          </a:prstGeom>
          <a:noFill/>
        </p:spPr>
        <p:txBody>
          <a:bodyPr wrap="square">
            <a:spAutoFit/>
          </a:bodyPr>
          <a:lstStyle/>
          <a:p>
            <a:pPr marL="171450" indent="-171450">
              <a:buFont typeface="Wingdings" panose="05000000000000000000" pitchFamily="2" charset="2"/>
              <a:buChar char="ü"/>
            </a:pPr>
            <a:r>
              <a:rPr lang="fr-FR" sz="1100" dirty="0"/>
              <a:t>Qualités humaines et organisationnelles</a:t>
            </a:r>
          </a:p>
        </p:txBody>
      </p:sp>
      <p:sp>
        <p:nvSpPr>
          <p:cNvPr id="19" name="ZoneTexte 87">
            <a:extLst>
              <a:ext uri="{FF2B5EF4-FFF2-40B4-BE49-F238E27FC236}">
                <a16:creationId xmlns:a16="http://schemas.microsoft.com/office/drawing/2014/main" id="{E06CF4BC-7F41-4FAB-88F8-13C93E24A93A}"/>
              </a:ext>
            </a:extLst>
          </p:cNvPr>
          <p:cNvSpPr txBox="1"/>
          <p:nvPr/>
        </p:nvSpPr>
        <p:spPr>
          <a:xfrm>
            <a:off x="8128489" y="3356711"/>
            <a:ext cx="3744000" cy="261610"/>
          </a:xfrm>
          <a:prstGeom prst="rect">
            <a:avLst/>
          </a:prstGeom>
          <a:noFill/>
        </p:spPr>
        <p:txBody>
          <a:bodyPr wrap="square">
            <a:spAutoFit/>
          </a:bodyPr>
          <a:lstStyle/>
          <a:p>
            <a:pPr marL="171450" indent="-171450">
              <a:buFont typeface="Wingdings" panose="05000000000000000000" pitchFamily="2" charset="2"/>
              <a:buChar char="ü"/>
            </a:pPr>
            <a:r>
              <a:rPr lang="fr-FR" sz="1100" dirty="0"/>
              <a:t>Capacité à travailler dans un contexte international</a:t>
            </a:r>
          </a:p>
        </p:txBody>
      </p:sp>
      <p:sp>
        <p:nvSpPr>
          <p:cNvPr id="20" name="ZoneTexte 105">
            <a:extLst>
              <a:ext uri="{FF2B5EF4-FFF2-40B4-BE49-F238E27FC236}">
                <a16:creationId xmlns:a16="http://schemas.microsoft.com/office/drawing/2014/main" id="{0056AFD6-FC5E-4F92-B039-764BE2B2020B}"/>
              </a:ext>
            </a:extLst>
          </p:cNvPr>
          <p:cNvSpPr txBox="1"/>
          <p:nvPr/>
        </p:nvSpPr>
        <p:spPr>
          <a:xfrm>
            <a:off x="8114262" y="5657484"/>
            <a:ext cx="3744000" cy="261611"/>
          </a:xfrm>
          <a:prstGeom prst="rect">
            <a:avLst/>
          </a:prstGeom>
          <a:noFill/>
        </p:spPr>
        <p:txBody>
          <a:bodyPr wrap="square">
            <a:spAutoFit/>
          </a:bodyPr>
          <a:lstStyle/>
          <a:p>
            <a:pPr marL="171450" indent="-171450">
              <a:buFont typeface="Wingdings" panose="05000000000000000000" pitchFamily="2" charset="2"/>
              <a:buChar char="ü"/>
            </a:pPr>
            <a:r>
              <a:rPr lang="fr-FR" sz="1100" dirty="0"/>
              <a:t>Développement d’un profil de consultant</a:t>
            </a:r>
          </a:p>
        </p:txBody>
      </p:sp>
      <p:grpSp>
        <p:nvGrpSpPr>
          <p:cNvPr id="21" name="Graphic 4">
            <a:extLst>
              <a:ext uri="{FF2B5EF4-FFF2-40B4-BE49-F238E27FC236}">
                <a16:creationId xmlns:a16="http://schemas.microsoft.com/office/drawing/2014/main" id="{EBACFA7B-BAF3-4C84-B11C-1BE76005E7B6}"/>
              </a:ext>
            </a:extLst>
          </p:cNvPr>
          <p:cNvGrpSpPr/>
          <p:nvPr/>
        </p:nvGrpSpPr>
        <p:grpSpPr>
          <a:xfrm>
            <a:off x="7513553" y="4507128"/>
            <a:ext cx="432000" cy="360000"/>
            <a:chOff x="540588" y="999894"/>
            <a:chExt cx="215463" cy="198541"/>
          </a:xfrm>
          <a:solidFill>
            <a:schemeClr val="accent5"/>
          </a:solidFill>
        </p:grpSpPr>
        <p:sp>
          <p:nvSpPr>
            <p:cNvPr id="22" name="Graphic 4">
              <a:extLst>
                <a:ext uri="{FF2B5EF4-FFF2-40B4-BE49-F238E27FC236}">
                  <a16:creationId xmlns:a16="http://schemas.microsoft.com/office/drawing/2014/main" id="{3175DD8F-C8D2-4ACF-8D76-06C61E530463}"/>
                </a:ext>
              </a:extLst>
            </p:cNvPr>
            <p:cNvSpPr/>
            <p:nvPr/>
          </p:nvSpPr>
          <p:spPr>
            <a:xfrm>
              <a:off x="540588" y="999894"/>
              <a:ext cx="215463" cy="198541"/>
            </a:xfrm>
            <a:custGeom>
              <a:avLst/>
              <a:gdLst>
                <a:gd name="connsiteX0" fmla="*/ 201283 w 215463"/>
                <a:gd name="connsiteY0" fmla="*/ 0 h 198541"/>
                <a:gd name="connsiteX1" fmla="*/ 76040 w 215463"/>
                <a:gd name="connsiteY1" fmla="*/ 0 h 198541"/>
                <a:gd name="connsiteX2" fmla="*/ 62621 w 215463"/>
                <a:gd name="connsiteY2" fmla="*/ 14683 h 198541"/>
                <a:gd name="connsiteX3" fmla="*/ 62621 w 215463"/>
                <a:gd name="connsiteY3" fmla="*/ 74054 h 198541"/>
                <a:gd name="connsiteX4" fmla="*/ 13419 w 215463"/>
                <a:gd name="connsiteY4" fmla="*/ 74054 h 198541"/>
                <a:gd name="connsiteX5" fmla="*/ 1278 w 215463"/>
                <a:gd name="connsiteY5" fmla="*/ 87461 h 198541"/>
                <a:gd name="connsiteX6" fmla="*/ 0 w 215463"/>
                <a:gd name="connsiteY6" fmla="*/ 158323 h 198541"/>
                <a:gd name="connsiteX7" fmla="*/ 4473 w 215463"/>
                <a:gd name="connsiteY7" fmla="*/ 169814 h 198541"/>
                <a:gd name="connsiteX8" fmla="*/ 13419 w 215463"/>
                <a:gd name="connsiteY8" fmla="*/ 173644 h 198541"/>
                <a:gd name="connsiteX9" fmla="*/ 13419 w 215463"/>
                <a:gd name="connsiteY9" fmla="*/ 173644 h 198541"/>
                <a:gd name="connsiteX10" fmla="*/ 27477 w 215463"/>
                <a:gd name="connsiteY10" fmla="*/ 173644 h 198541"/>
                <a:gd name="connsiteX11" fmla="*/ 39618 w 215463"/>
                <a:gd name="connsiteY11" fmla="*/ 195350 h 198541"/>
                <a:gd name="connsiteX12" fmla="*/ 40257 w 215463"/>
                <a:gd name="connsiteY12" fmla="*/ 195988 h 198541"/>
                <a:gd name="connsiteX13" fmla="*/ 40896 w 215463"/>
                <a:gd name="connsiteY13" fmla="*/ 196627 h 198541"/>
                <a:gd name="connsiteX14" fmla="*/ 42174 w 215463"/>
                <a:gd name="connsiteY14" fmla="*/ 197265 h 198541"/>
                <a:gd name="connsiteX15" fmla="*/ 42813 w 215463"/>
                <a:gd name="connsiteY15" fmla="*/ 197903 h 198541"/>
                <a:gd name="connsiteX16" fmla="*/ 44730 w 215463"/>
                <a:gd name="connsiteY16" fmla="*/ 198542 h 198541"/>
                <a:gd name="connsiteX17" fmla="*/ 44730 w 215463"/>
                <a:gd name="connsiteY17" fmla="*/ 198542 h 198541"/>
                <a:gd name="connsiteX18" fmla="*/ 46008 w 215463"/>
                <a:gd name="connsiteY18" fmla="*/ 198542 h 198541"/>
                <a:gd name="connsiteX19" fmla="*/ 47925 w 215463"/>
                <a:gd name="connsiteY19" fmla="*/ 198542 h 198541"/>
                <a:gd name="connsiteX20" fmla="*/ 48564 w 215463"/>
                <a:gd name="connsiteY20" fmla="*/ 198542 h 198541"/>
                <a:gd name="connsiteX21" fmla="*/ 49203 w 215463"/>
                <a:gd name="connsiteY21" fmla="*/ 198542 h 198541"/>
                <a:gd name="connsiteX22" fmla="*/ 49203 w 215463"/>
                <a:gd name="connsiteY22" fmla="*/ 198542 h 198541"/>
                <a:gd name="connsiteX23" fmla="*/ 50481 w 215463"/>
                <a:gd name="connsiteY23" fmla="*/ 197265 h 198541"/>
                <a:gd name="connsiteX24" fmla="*/ 51119 w 215463"/>
                <a:gd name="connsiteY24" fmla="*/ 196627 h 198541"/>
                <a:gd name="connsiteX25" fmla="*/ 51758 w 215463"/>
                <a:gd name="connsiteY25" fmla="*/ 195350 h 198541"/>
                <a:gd name="connsiteX26" fmla="*/ 51758 w 215463"/>
                <a:gd name="connsiteY26" fmla="*/ 194711 h 198541"/>
                <a:gd name="connsiteX27" fmla="*/ 51758 w 215463"/>
                <a:gd name="connsiteY27" fmla="*/ 194711 h 198541"/>
                <a:gd name="connsiteX28" fmla="*/ 56231 w 215463"/>
                <a:gd name="connsiteY28" fmla="*/ 176198 h 198541"/>
                <a:gd name="connsiteX29" fmla="*/ 125882 w 215463"/>
                <a:gd name="connsiteY29" fmla="*/ 176198 h 198541"/>
                <a:gd name="connsiteX30" fmla="*/ 138023 w 215463"/>
                <a:gd name="connsiteY30" fmla="*/ 162792 h 198541"/>
                <a:gd name="connsiteX31" fmla="*/ 138023 w 215463"/>
                <a:gd name="connsiteY31" fmla="*/ 112996 h 198541"/>
                <a:gd name="connsiteX32" fmla="*/ 153997 w 215463"/>
                <a:gd name="connsiteY32" fmla="*/ 112996 h 198541"/>
                <a:gd name="connsiteX33" fmla="*/ 159109 w 215463"/>
                <a:gd name="connsiteY33" fmla="*/ 134064 h 198541"/>
                <a:gd name="connsiteX34" fmla="*/ 159109 w 215463"/>
                <a:gd name="connsiteY34" fmla="*/ 134064 h 198541"/>
                <a:gd name="connsiteX35" fmla="*/ 159109 w 215463"/>
                <a:gd name="connsiteY35" fmla="*/ 134702 h 198541"/>
                <a:gd name="connsiteX36" fmla="*/ 159748 w 215463"/>
                <a:gd name="connsiteY36" fmla="*/ 135979 h 198541"/>
                <a:gd name="connsiteX37" fmla="*/ 160387 w 215463"/>
                <a:gd name="connsiteY37" fmla="*/ 136617 h 198541"/>
                <a:gd name="connsiteX38" fmla="*/ 161665 w 215463"/>
                <a:gd name="connsiteY38" fmla="*/ 137894 h 198541"/>
                <a:gd name="connsiteX39" fmla="*/ 161665 w 215463"/>
                <a:gd name="connsiteY39" fmla="*/ 137894 h 198541"/>
                <a:gd name="connsiteX40" fmla="*/ 162304 w 215463"/>
                <a:gd name="connsiteY40" fmla="*/ 137894 h 198541"/>
                <a:gd name="connsiteX41" fmla="*/ 162943 w 215463"/>
                <a:gd name="connsiteY41" fmla="*/ 137894 h 198541"/>
                <a:gd name="connsiteX42" fmla="*/ 164860 w 215463"/>
                <a:gd name="connsiteY42" fmla="*/ 137894 h 198541"/>
                <a:gd name="connsiteX43" fmla="*/ 166138 w 215463"/>
                <a:gd name="connsiteY43" fmla="*/ 137894 h 198541"/>
                <a:gd name="connsiteX44" fmla="*/ 166138 w 215463"/>
                <a:gd name="connsiteY44" fmla="*/ 137894 h 198541"/>
                <a:gd name="connsiteX45" fmla="*/ 168055 w 215463"/>
                <a:gd name="connsiteY45" fmla="*/ 137256 h 198541"/>
                <a:gd name="connsiteX46" fmla="*/ 168694 w 215463"/>
                <a:gd name="connsiteY46" fmla="*/ 136617 h 198541"/>
                <a:gd name="connsiteX47" fmla="*/ 169972 w 215463"/>
                <a:gd name="connsiteY47" fmla="*/ 135979 h 198541"/>
                <a:gd name="connsiteX48" fmla="*/ 170611 w 215463"/>
                <a:gd name="connsiteY48" fmla="*/ 135340 h 198541"/>
                <a:gd name="connsiteX49" fmla="*/ 171250 w 215463"/>
                <a:gd name="connsiteY49" fmla="*/ 134702 h 198541"/>
                <a:gd name="connsiteX50" fmla="*/ 185308 w 215463"/>
                <a:gd name="connsiteY50" fmla="*/ 109804 h 198541"/>
                <a:gd name="connsiteX51" fmla="*/ 201283 w 215463"/>
                <a:gd name="connsiteY51" fmla="*/ 109804 h 198541"/>
                <a:gd name="connsiteX52" fmla="*/ 210868 w 215463"/>
                <a:gd name="connsiteY52" fmla="*/ 105974 h 198541"/>
                <a:gd name="connsiteX53" fmla="*/ 215341 w 215463"/>
                <a:gd name="connsiteY53" fmla="*/ 93845 h 198541"/>
                <a:gd name="connsiteX54" fmla="*/ 214063 w 215463"/>
                <a:gd name="connsiteY54" fmla="*/ 15322 h 198541"/>
                <a:gd name="connsiteX55" fmla="*/ 201283 w 215463"/>
                <a:gd name="connsiteY55" fmla="*/ 0 h 198541"/>
                <a:gd name="connsiteX56" fmla="*/ 125882 w 215463"/>
                <a:gd name="connsiteY56" fmla="*/ 161515 h 198541"/>
                <a:gd name="connsiteX57" fmla="*/ 125882 w 215463"/>
                <a:gd name="connsiteY57" fmla="*/ 162153 h 198541"/>
                <a:gd name="connsiteX58" fmla="*/ 52398 w 215463"/>
                <a:gd name="connsiteY58" fmla="*/ 162153 h 198541"/>
                <a:gd name="connsiteX59" fmla="*/ 51758 w 215463"/>
                <a:gd name="connsiteY59" fmla="*/ 162153 h 198541"/>
                <a:gd name="connsiteX60" fmla="*/ 45369 w 215463"/>
                <a:gd name="connsiteY60" fmla="*/ 166622 h 198541"/>
                <a:gd name="connsiteX61" fmla="*/ 43452 w 215463"/>
                <a:gd name="connsiteY61" fmla="*/ 174283 h 198541"/>
                <a:gd name="connsiteX62" fmla="*/ 37062 w 215463"/>
                <a:gd name="connsiteY62" fmla="*/ 163430 h 198541"/>
                <a:gd name="connsiteX63" fmla="*/ 36423 w 215463"/>
                <a:gd name="connsiteY63" fmla="*/ 162792 h 198541"/>
                <a:gd name="connsiteX64" fmla="*/ 35784 w 215463"/>
                <a:gd name="connsiteY64" fmla="*/ 161515 h 198541"/>
                <a:gd name="connsiteX65" fmla="*/ 34506 w 215463"/>
                <a:gd name="connsiteY65" fmla="*/ 160876 h 198541"/>
                <a:gd name="connsiteX66" fmla="*/ 33228 w 215463"/>
                <a:gd name="connsiteY66" fmla="*/ 160238 h 198541"/>
                <a:gd name="connsiteX67" fmla="*/ 31950 w 215463"/>
                <a:gd name="connsiteY67" fmla="*/ 160238 h 198541"/>
                <a:gd name="connsiteX68" fmla="*/ 31311 w 215463"/>
                <a:gd name="connsiteY68" fmla="*/ 160238 h 198541"/>
                <a:gd name="connsiteX69" fmla="*/ 14058 w 215463"/>
                <a:gd name="connsiteY69" fmla="*/ 160876 h 198541"/>
                <a:gd name="connsiteX70" fmla="*/ 13419 w 215463"/>
                <a:gd name="connsiteY70" fmla="*/ 158323 h 198541"/>
                <a:gd name="connsiteX71" fmla="*/ 14697 w 215463"/>
                <a:gd name="connsiteY71" fmla="*/ 87461 h 198541"/>
                <a:gd name="connsiteX72" fmla="*/ 14697 w 215463"/>
                <a:gd name="connsiteY72" fmla="*/ 86822 h 198541"/>
                <a:gd name="connsiteX73" fmla="*/ 63260 w 215463"/>
                <a:gd name="connsiteY73" fmla="*/ 86822 h 198541"/>
                <a:gd name="connsiteX74" fmla="*/ 63260 w 215463"/>
                <a:gd name="connsiteY74" fmla="*/ 97037 h 198541"/>
                <a:gd name="connsiteX75" fmla="*/ 76679 w 215463"/>
                <a:gd name="connsiteY75" fmla="*/ 111720 h 198541"/>
                <a:gd name="connsiteX76" fmla="*/ 126521 w 215463"/>
                <a:gd name="connsiteY76" fmla="*/ 111720 h 198541"/>
                <a:gd name="connsiteX77" fmla="*/ 126521 w 215463"/>
                <a:gd name="connsiteY77" fmla="*/ 161515 h 198541"/>
                <a:gd name="connsiteX78" fmla="*/ 201283 w 215463"/>
                <a:gd name="connsiteY78" fmla="*/ 96398 h 198541"/>
                <a:gd name="connsiteX79" fmla="*/ 181474 w 215463"/>
                <a:gd name="connsiteY79" fmla="*/ 95760 h 198541"/>
                <a:gd name="connsiteX80" fmla="*/ 180835 w 215463"/>
                <a:gd name="connsiteY80" fmla="*/ 95760 h 198541"/>
                <a:gd name="connsiteX81" fmla="*/ 178918 w 215463"/>
                <a:gd name="connsiteY81" fmla="*/ 96398 h 198541"/>
                <a:gd name="connsiteX82" fmla="*/ 178279 w 215463"/>
                <a:gd name="connsiteY82" fmla="*/ 96398 h 198541"/>
                <a:gd name="connsiteX83" fmla="*/ 177001 w 215463"/>
                <a:gd name="connsiteY83" fmla="*/ 97037 h 198541"/>
                <a:gd name="connsiteX84" fmla="*/ 176362 w 215463"/>
                <a:gd name="connsiteY84" fmla="*/ 97675 h 198541"/>
                <a:gd name="connsiteX85" fmla="*/ 175723 w 215463"/>
                <a:gd name="connsiteY85" fmla="*/ 98313 h 198541"/>
                <a:gd name="connsiteX86" fmla="*/ 168055 w 215463"/>
                <a:gd name="connsiteY86" fmla="*/ 112358 h 198541"/>
                <a:gd name="connsiteX87" fmla="*/ 165499 w 215463"/>
                <a:gd name="connsiteY87" fmla="*/ 102144 h 198541"/>
                <a:gd name="connsiteX88" fmla="*/ 159109 w 215463"/>
                <a:gd name="connsiteY88" fmla="*/ 97675 h 198541"/>
                <a:gd name="connsiteX89" fmla="*/ 158470 w 215463"/>
                <a:gd name="connsiteY89" fmla="*/ 97675 h 198541"/>
                <a:gd name="connsiteX90" fmla="*/ 132272 w 215463"/>
                <a:gd name="connsiteY90" fmla="*/ 97675 h 198541"/>
                <a:gd name="connsiteX91" fmla="*/ 132272 w 215463"/>
                <a:gd name="connsiteY91" fmla="*/ 97675 h 198541"/>
                <a:gd name="connsiteX92" fmla="*/ 132272 w 215463"/>
                <a:gd name="connsiteY92" fmla="*/ 97675 h 198541"/>
                <a:gd name="connsiteX93" fmla="*/ 76679 w 215463"/>
                <a:gd name="connsiteY93" fmla="*/ 97675 h 198541"/>
                <a:gd name="connsiteX94" fmla="*/ 76040 w 215463"/>
                <a:gd name="connsiteY94" fmla="*/ 95760 h 198541"/>
                <a:gd name="connsiteX95" fmla="*/ 76040 w 215463"/>
                <a:gd name="connsiteY95" fmla="*/ 13406 h 198541"/>
                <a:gd name="connsiteX96" fmla="*/ 76679 w 215463"/>
                <a:gd name="connsiteY96" fmla="*/ 11491 h 198541"/>
                <a:gd name="connsiteX97" fmla="*/ 201922 w 215463"/>
                <a:gd name="connsiteY97" fmla="*/ 11491 h 198541"/>
                <a:gd name="connsiteX98" fmla="*/ 202561 w 215463"/>
                <a:gd name="connsiteY98" fmla="*/ 13406 h 198541"/>
                <a:gd name="connsiteX99" fmla="*/ 203839 w 215463"/>
                <a:gd name="connsiteY99" fmla="*/ 91929 h 198541"/>
                <a:gd name="connsiteX100" fmla="*/ 201283 w 215463"/>
                <a:gd name="connsiteY100" fmla="*/ 96398 h 19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15463" h="198541">
                  <a:moveTo>
                    <a:pt x="201283" y="0"/>
                  </a:moveTo>
                  <a:lnTo>
                    <a:pt x="76040" y="0"/>
                  </a:lnTo>
                  <a:cubicBezTo>
                    <a:pt x="69011" y="0"/>
                    <a:pt x="62621" y="6384"/>
                    <a:pt x="62621" y="14683"/>
                  </a:cubicBezTo>
                  <a:lnTo>
                    <a:pt x="62621" y="74054"/>
                  </a:lnTo>
                  <a:lnTo>
                    <a:pt x="13419" y="74054"/>
                  </a:lnTo>
                  <a:cubicBezTo>
                    <a:pt x="6390" y="74054"/>
                    <a:pt x="1278" y="80438"/>
                    <a:pt x="1278" y="87461"/>
                  </a:cubicBezTo>
                  <a:lnTo>
                    <a:pt x="0" y="158323"/>
                  </a:lnTo>
                  <a:cubicBezTo>
                    <a:pt x="0" y="162792"/>
                    <a:pt x="1278" y="166622"/>
                    <a:pt x="4473" y="169814"/>
                  </a:cubicBezTo>
                  <a:cubicBezTo>
                    <a:pt x="7029" y="172368"/>
                    <a:pt x="10224" y="173644"/>
                    <a:pt x="13419" y="173644"/>
                  </a:cubicBezTo>
                  <a:cubicBezTo>
                    <a:pt x="13419" y="173644"/>
                    <a:pt x="13419" y="173644"/>
                    <a:pt x="13419" y="173644"/>
                  </a:cubicBezTo>
                  <a:lnTo>
                    <a:pt x="27477" y="173644"/>
                  </a:lnTo>
                  <a:lnTo>
                    <a:pt x="39618" y="195350"/>
                  </a:lnTo>
                  <a:cubicBezTo>
                    <a:pt x="39618" y="195350"/>
                    <a:pt x="39618" y="195350"/>
                    <a:pt x="40257" y="195988"/>
                  </a:cubicBezTo>
                  <a:cubicBezTo>
                    <a:pt x="40257" y="195988"/>
                    <a:pt x="40257" y="196627"/>
                    <a:pt x="40896" y="196627"/>
                  </a:cubicBezTo>
                  <a:cubicBezTo>
                    <a:pt x="40896" y="197265"/>
                    <a:pt x="41535" y="197265"/>
                    <a:pt x="42174" y="197265"/>
                  </a:cubicBezTo>
                  <a:cubicBezTo>
                    <a:pt x="42174" y="197265"/>
                    <a:pt x="42174" y="197265"/>
                    <a:pt x="42813" y="197903"/>
                  </a:cubicBezTo>
                  <a:cubicBezTo>
                    <a:pt x="43452" y="198542"/>
                    <a:pt x="44091" y="198542"/>
                    <a:pt x="44730" y="198542"/>
                  </a:cubicBezTo>
                  <a:cubicBezTo>
                    <a:pt x="44730" y="198542"/>
                    <a:pt x="44730" y="198542"/>
                    <a:pt x="44730" y="198542"/>
                  </a:cubicBezTo>
                  <a:cubicBezTo>
                    <a:pt x="45369" y="198542"/>
                    <a:pt x="46008" y="198542"/>
                    <a:pt x="46008" y="198542"/>
                  </a:cubicBezTo>
                  <a:cubicBezTo>
                    <a:pt x="46647" y="198542"/>
                    <a:pt x="47286" y="198542"/>
                    <a:pt x="47925" y="198542"/>
                  </a:cubicBezTo>
                  <a:cubicBezTo>
                    <a:pt x="47925" y="198542"/>
                    <a:pt x="48564" y="198542"/>
                    <a:pt x="48564" y="198542"/>
                  </a:cubicBezTo>
                  <a:cubicBezTo>
                    <a:pt x="48564" y="198542"/>
                    <a:pt x="49203" y="198542"/>
                    <a:pt x="49203" y="198542"/>
                  </a:cubicBezTo>
                  <a:cubicBezTo>
                    <a:pt x="49203" y="198542"/>
                    <a:pt x="49203" y="198542"/>
                    <a:pt x="49203" y="198542"/>
                  </a:cubicBezTo>
                  <a:cubicBezTo>
                    <a:pt x="49842" y="198542"/>
                    <a:pt x="49842" y="197903"/>
                    <a:pt x="50481" y="197265"/>
                  </a:cubicBezTo>
                  <a:cubicBezTo>
                    <a:pt x="50481" y="197265"/>
                    <a:pt x="51119" y="196627"/>
                    <a:pt x="51119" y="196627"/>
                  </a:cubicBezTo>
                  <a:cubicBezTo>
                    <a:pt x="51119" y="195988"/>
                    <a:pt x="51758" y="195988"/>
                    <a:pt x="51758" y="195350"/>
                  </a:cubicBezTo>
                  <a:cubicBezTo>
                    <a:pt x="51758" y="195350"/>
                    <a:pt x="51758" y="194711"/>
                    <a:pt x="51758" y="194711"/>
                  </a:cubicBezTo>
                  <a:cubicBezTo>
                    <a:pt x="51758" y="194711"/>
                    <a:pt x="51758" y="194711"/>
                    <a:pt x="51758" y="194711"/>
                  </a:cubicBezTo>
                  <a:lnTo>
                    <a:pt x="56231" y="176198"/>
                  </a:lnTo>
                  <a:lnTo>
                    <a:pt x="125882" y="176198"/>
                  </a:lnTo>
                  <a:cubicBezTo>
                    <a:pt x="132911" y="176198"/>
                    <a:pt x="138023" y="169814"/>
                    <a:pt x="138023" y="162792"/>
                  </a:cubicBezTo>
                  <a:lnTo>
                    <a:pt x="138023" y="112996"/>
                  </a:lnTo>
                  <a:lnTo>
                    <a:pt x="153997" y="112996"/>
                  </a:lnTo>
                  <a:lnTo>
                    <a:pt x="159109" y="134064"/>
                  </a:lnTo>
                  <a:cubicBezTo>
                    <a:pt x="159109" y="134064"/>
                    <a:pt x="159109" y="134064"/>
                    <a:pt x="159109" y="134064"/>
                  </a:cubicBezTo>
                  <a:cubicBezTo>
                    <a:pt x="159109" y="134064"/>
                    <a:pt x="159109" y="134702"/>
                    <a:pt x="159109" y="134702"/>
                  </a:cubicBezTo>
                  <a:cubicBezTo>
                    <a:pt x="159109" y="135340"/>
                    <a:pt x="159748" y="135979"/>
                    <a:pt x="159748" y="135979"/>
                  </a:cubicBezTo>
                  <a:cubicBezTo>
                    <a:pt x="159748" y="135979"/>
                    <a:pt x="160387" y="136617"/>
                    <a:pt x="160387" y="136617"/>
                  </a:cubicBezTo>
                  <a:cubicBezTo>
                    <a:pt x="161026" y="137256"/>
                    <a:pt x="161026" y="137256"/>
                    <a:pt x="161665" y="137894"/>
                  </a:cubicBezTo>
                  <a:cubicBezTo>
                    <a:pt x="161665" y="137894"/>
                    <a:pt x="161665" y="137894"/>
                    <a:pt x="161665" y="137894"/>
                  </a:cubicBezTo>
                  <a:cubicBezTo>
                    <a:pt x="161665" y="137894"/>
                    <a:pt x="162304" y="137894"/>
                    <a:pt x="162304" y="137894"/>
                  </a:cubicBezTo>
                  <a:cubicBezTo>
                    <a:pt x="162304" y="137894"/>
                    <a:pt x="162943" y="137894"/>
                    <a:pt x="162943" y="137894"/>
                  </a:cubicBezTo>
                  <a:cubicBezTo>
                    <a:pt x="163582" y="137894"/>
                    <a:pt x="164221" y="137894"/>
                    <a:pt x="164860" y="137894"/>
                  </a:cubicBezTo>
                  <a:cubicBezTo>
                    <a:pt x="165499" y="137894"/>
                    <a:pt x="166138" y="137894"/>
                    <a:pt x="166138" y="137894"/>
                  </a:cubicBezTo>
                  <a:cubicBezTo>
                    <a:pt x="166138" y="137894"/>
                    <a:pt x="166138" y="137894"/>
                    <a:pt x="166138" y="137894"/>
                  </a:cubicBezTo>
                  <a:cubicBezTo>
                    <a:pt x="166777" y="137894"/>
                    <a:pt x="167416" y="137256"/>
                    <a:pt x="168055" y="137256"/>
                  </a:cubicBezTo>
                  <a:cubicBezTo>
                    <a:pt x="168055" y="137256"/>
                    <a:pt x="168055" y="137256"/>
                    <a:pt x="168694" y="136617"/>
                  </a:cubicBezTo>
                  <a:cubicBezTo>
                    <a:pt x="169333" y="136617"/>
                    <a:pt x="169333" y="135979"/>
                    <a:pt x="169972" y="135979"/>
                  </a:cubicBezTo>
                  <a:cubicBezTo>
                    <a:pt x="169972" y="135979"/>
                    <a:pt x="169972" y="135340"/>
                    <a:pt x="170611" y="135340"/>
                  </a:cubicBezTo>
                  <a:cubicBezTo>
                    <a:pt x="170611" y="135340"/>
                    <a:pt x="170611" y="135340"/>
                    <a:pt x="171250" y="134702"/>
                  </a:cubicBezTo>
                  <a:lnTo>
                    <a:pt x="185308" y="109804"/>
                  </a:lnTo>
                  <a:lnTo>
                    <a:pt x="201283" y="109804"/>
                  </a:lnTo>
                  <a:cubicBezTo>
                    <a:pt x="205117" y="109804"/>
                    <a:pt x="208312" y="108528"/>
                    <a:pt x="210868" y="105974"/>
                  </a:cubicBezTo>
                  <a:cubicBezTo>
                    <a:pt x="214063" y="102782"/>
                    <a:pt x="215980" y="98313"/>
                    <a:pt x="215341" y="93845"/>
                  </a:cubicBezTo>
                  <a:lnTo>
                    <a:pt x="214063" y="15322"/>
                  </a:lnTo>
                  <a:cubicBezTo>
                    <a:pt x="214702" y="6384"/>
                    <a:pt x="208951" y="0"/>
                    <a:pt x="201283" y="0"/>
                  </a:cubicBezTo>
                  <a:close/>
                  <a:moveTo>
                    <a:pt x="125882" y="161515"/>
                  </a:moveTo>
                  <a:cubicBezTo>
                    <a:pt x="125882" y="162153"/>
                    <a:pt x="125882" y="162153"/>
                    <a:pt x="125882" y="162153"/>
                  </a:cubicBezTo>
                  <a:lnTo>
                    <a:pt x="52398" y="162153"/>
                  </a:lnTo>
                  <a:cubicBezTo>
                    <a:pt x="52398" y="162153"/>
                    <a:pt x="51758" y="162153"/>
                    <a:pt x="51758" y="162153"/>
                  </a:cubicBezTo>
                  <a:cubicBezTo>
                    <a:pt x="48564" y="162153"/>
                    <a:pt x="46008" y="164068"/>
                    <a:pt x="45369" y="166622"/>
                  </a:cubicBezTo>
                  <a:lnTo>
                    <a:pt x="43452" y="174283"/>
                  </a:lnTo>
                  <a:lnTo>
                    <a:pt x="37062" y="163430"/>
                  </a:lnTo>
                  <a:cubicBezTo>
                    <a:pt x="37062" y="163430"/>
                    <a:pt x="36423" y="162792"/>
                    <a:pt x="36423" y="162792"/>
                  </a:cubicBezTo>
                  <a:cubicBezTo>
                    <a:pt x="36423" y="162153"/>
                    <a:pt x="35784" y="162153"/>
                    <a:pt x="35784" y="161515"/>
                  </a:cubicBezTo>
                  <a:cubicBezTo>
                    <a:pt x="35784" y="161515"/>
                    <a:pt x="35145" y="160876"/>
                    <a:pt x="34506" y="160876"/>
                  </a:cubicBezTo>
                  <a:cubicBezTo>
                    <a:pt x="33867" y="160876"/>
                    <a:pt x="33867" y="160238"/>
                    <a:pt x="33228" y="160238"/>
                  </a:cubicBezTo>
                  <a:cubicBezTo>
                    <a:pt x="32589" y="160238"/>
                    <a:pt x="32589" y="160238"/>
                    <a:pt x="31950" y="160238"/>
                  </a:cubicBezTo>
                  <a:cubicBezTo>
                    <a:pt x="31950" y="160238"/>
                    <a:pt x="31311" y="160238"/>
                    <a:pt x="31311" y="160238"/>
                  </a:cubicBezTo>
                  <a:lnTo>
                    <a:pt x="14058" y="160876"/>
                  </a:lnTo>
                  <a:cubicBezTo>
                    <a:pt x="14058" y="160876"/>
                    <a:pt x="13419" y="160238"/>
                    <a:pt x="13419" y="158323"/>
                  </a:cubicBezTo>
                  <a:lnTo>
                    <a:pt x="14697" y="87461"/>
                  </a:lnTo>
                  <a:cubicBezTo>
                    <a:pt x="14697" y="86822"/>
                    <a:pt x="14697" y="86822"/>
                    <a:pt x="14697" y="86822"/>
                  </a:cubicBezTo>
                  <a:lnTo>
                    <a:pt x="63260" y="86822"/>
                  </a:lnTo>
                  <a:lnTo>
                    <a:pt x="63260" y="97037"/>
                  </a:lnTo>
                  <a:cubicBezTo>
                    <a:pt x="63260" y="105336"/>
                    <a:pt x="69011" y="111720"/>
                    <a:pt x="76679" y="111720"/>
                  </a:cubicBezTo>
                  <a:lnTo>
                    <a:pt x="126521" y="111720"/>
                  </a:lnTo>
                  <a:lnTo>
                    <a:pt x="126521" y="161515"/>
                  </a:lnTo>
                  <a:close/>
                  <a:moveTo>
                    <a:pt x="201283" y="96398"/>
                  </a:moveTo>
                  <a:lnTo>
                    <a:pt x="181474" y="95760"/>
                  </a:lnTo>
                  <a:cubicBezTo>
                    <a:pt x="181474" y="95760"/>
                    <a:pt x="180835" y="95760"/>
                    <a:pt x="180835" y="95760"/>
                  </a:cubicBezTo>
                  <a:cubicBezTo>
                    <a:pt x="180196" y="95760"/>
                    <a:pt x="179557" y="95760"/>
                    <a:pt x="178918" y="96398"/>
                  </a:cubicBezTo>
                  <a:cubicBezTo>
                    <a:pt x="178918" y="96398"/>
                    <a:pt x="178279" y="96398"/>
                    <a:pt x="178279" y="96398"/>
                  </a:cubicBezTo>
                  <a:cubicBezTo>
                    <a:pt x="177640" y="96398"/>
                    <a:pt x="177001" y="97037"/>
                    <a:pt x="177001" y="97037"/>
                  </a:cubicBezTo>
                  <a:cubicBezTo>
                    <a:pt x="177001" y="97037"/>
                    <a:pt x="176362" y="97675"/>
                    <a:pt x="176362" y="97675"/>
                  </a:cubicBezTo>
                  <a:cubicBezTo>
                    <a:pt x="176362" y="97675"/>
                    <a:pt x="175723" y="98313"/>
                    <a:pt x="175723" y="98313"/>
                  </a:cubicBezTo>
                  <a:lnTo>
                    <a:pt x="168055" y="112358"/>
                  </a:lnTo>
                  <a:lnTo>
                    <a:pt x="165499" y="102144"/>
                  </a:lnTo>
                  <a:cubicBezTo>
                    <a:pt x="164860" y="98952"/>
                    <a:pt x="161665" y="97037"/>
                    <a:pt x="159109" y="97675"/>
                  </a:cubicBezTo>
                  <a:cubicBezTo>
                    <a:pt x="159109" y="97675"/>
                    <a:pt x="158470" y="97675"/>
                    <a:pt x="158470" y="97675"/>
                  </a:cubicBezTo>
                  <a:lnTo>
                    <a:pt x="132272" y="97675"/>
                  </a:lnTo>
                  <a:cubicBezTo>
                    <a:pt x="132272" y="97675"/>
                    <a:pt x="132272" y="97675"/>
                    <a:pt x="132272" y="97675"/>
                  </a:cubicBezTo>
                  <a:cubicBezTo>
                    <a:pt x="132272" y="97675"/>
                    <a:pt x="132272" y="97675"/>
                    <a:pt x="132272" y="97675"/>
                  </a:cubicBezTo>
                  <a:lnTo>
                    <a:pt x="76679" y="97675"/>
                  </a:lnTo>
                  <a:cubicBezTo>
                    <a:pt x="76679" y="97675"/>
                    <a:pt x="76040" y="97037"/>
                    <a:pt x="76040" y="95760"/>
                  </a:cubicBezTo>
                  <a:lnTo>
                    <a:pt x="76040" y="13406"/>
                  </a:lnTo>
                  <a:cubicBezTo>
                    <a:pt x="76040" y="12130"/>
                    <a:pt x="76679" y="11491"/>
                    <a:pt x="76679" y="11491"/>
                  </a:cubicBezTo>
                  <a:lnTo>
                    <a:pt x="201922" y="11491"/>
                  </a:lnTo>
                  <a:cubicBezTo>
                    <a:pt x="201922" y="11491"/>
                    <a:pt x="202561" y="12130"/>
                    <a:pt x="202561" y="13406"/>
                  </a:cubicBezTo>
                  <a:lnTo>
                    <a:pt x="203839" y="91929"/>
                  </a:lnTo>
                  <a:cubicBezTo>
                    <a:pt x="202561" y="94483"/>
                    <a:pt x="202561" y="95760"/>
                    <a:pt x="201283" y="96398"/>
                  </a:cubicBezTo>
                  <a:close/>
                </a:path>
              </a:pathLst>
            </a:custGeom>
            <a:grpFill/>
            <a:ln w="6390" cap="flat">
              <a:noFill/>
              <a:prstDash val="solid"/>
              <a:miter/>
            </a:ln>
          </p:spPr>
          <p:txBody>
            <a:bodyPr rtlCol="0" anchor="ctr"/>
            <a:lstStyle/>
            <a:p>
              <a:endParaRPr lang="en-US" dirty="0"/>
            </a:p>
          </p:txBody>
        </p:sp>
        <p:sp>
          <p:nvSpPr>
            <p:cNvPr id="23" name="Graphic 4">
              <a:extLst>
                <a:ext uri="{FF2B5EF4-FFF2-40B4-BE49-F238E27FC236}">
                  <a16:creationId xmlns:a16="http://schemas.microsoft.com/office/drawing/2014/main" id="{EDA80185-DF15-4E04-8233-E594B05EAACE}"/>
                </a:ext>
              </a:extLst>
            </p:cNvPr>
            <p:cNvSpPr/>
            <p:nvPr/>
          </p:nvSpPr>
          <p:spPr>
            <a:xfrm>
              <a:off x="640910" y="1049050"/>
              <a:ext cx="12779" cy="12767"/>
            </a:xfrm>
            <a:custGeom>
              <a:avLst/>
              <a:gdLst>
                <a:gd name="connsiteX0" fmla="*/ 10863 w 12779"/>
                <a:gd name="connsiteY0" fmla="*/ 1915 h 12767"/>
                <a:gd name="connsiteX1" fmla="*/ 8946 w 12779"/>
                <a:gd name="connsiteY1" fmla="*/ 638 h 12767"/>
                <a:gd name="connsiteX2" fmla="*/ 5112 w 12779"/>
                <a:gd name="connsiteY2" fmla="*/ 0 h 12767"/>
                <a:gd name="connsiteX3" fmla="*/ 3834 w 12779"/>
                <a:gd name="connsiteY3" fmla="*/ 638 h 12767"/>
                <a:gd name="connsiteX4" fmla="*/ 2556 w 12779"/>
                <a:gd name="connsiteY4" fmla="*/ 1277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0863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0863" y="1915"/>
                  </a:moveTo>
                  <a:cubicBezTo>
                    <a:pt x="10224" y="1277"/>
                    <a:pt x="9585" y="638"/>
                    <a:pt x="8946" y="638"/>
                  </a:cubicBezTo>
                  <a:cubicBezTo>
                    <a:pt x="7668" y="0"/>
                    <a:pt x="6390" y="0"/>
                    <a:pt x="5112" y="0"/>
                  </a:cubicBezTo>
                  <a:cubicBezTo>
                    <a:pt x="4473" y="0"/>
                    <a:pt x="4473" y="0"/>
                    <a:pt x="3834" y="638"/>
                  </a:cubicBezTo>
                  <a:cubicBezTo>
                    <a:pt x="3195" y="638"/>
                    <a:pt x="3195" y="1277"/>
                    <a:pt x="2556" y="1277"/>
                  </a:cubicBezTo>
                  <a:cubicBezTo>
                    <a:pt x="1917" y="1277"/>
                    <a:pt x="1917" y="1915"/>
                    <a:pt x="1917" y="1915"/>
                  </a:cubicBezTo>
                  <a:cubicBezTo>
                    <a:pt x="1278" y="2554"/>
                    <a:pt x="639" y="3192"/>
                    <a:pt x="639" y="3830"/>
                  </a:cubicBezTo>
                  <a:cubicBezTo>
                    <a:pt x="639"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endParaRPr lang="en-US" dirty="0"/>
            </a:p>
          </p:txBody>
        </p:sp>
        <p:sp>
          <p:nvSpPr>
            <p:cNvPr id="24" name="Graphic 4">
              <a:extLst>
                <a:ext uri="{FF2B5EF4-FFF2-40B4-BE49-F238E27FC236}">
                  <a16:creationId xmlns:a16="http://schemas.microsoft.com/office/drawing/2014/main" id="{761FF2FB-B932-43A1-9F4B-A201B8C2129C}"/>
                </a:ext>
              </a:extLst>
            </p:cNvPr>
            <p:cNvSpPr/>
            <p:nvPr/>
          </p:nvSpPr>
          <p:spPr>
            <a:xfrm>
              <a:off x="706088" y="1049050"/>
              <a:ext cx="12779" cy="12767"/>
            </a:xfrm>
            <a:custGeom>
              <a:avLst/>
              <a:gdLst>
                <a:gd name="connsiteX0" fmla="*/ 10863 w 12779"/>
                <a:gd name="connsiteY0" fmla="*/ 1915 h 12767"/>
                <a:gd name="connsiteX1" fmla="*/ 10224 w 12779"/>
                <a:gd name="connsiteY1" fmla="*/ 1277 h 12767"/>
                <a:gd name="connsiteX2" fmla="*/ 8946 w 12779"/>
                <a:gd name="connsiteY2" fmla="*/ 638 h 12767"/>
                <a:gd name="connsiteX3" fmla="*/ 7668 w 12779"/>
                <a:gd name="connsiteY3" fmla="*/ 0 h 12767"/>
                <a:gd name="connsiteX4" fmla="*/ 3834 w 12779"/>
                <a:gd name="connsiteY4" fmla="*/ 638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0863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0863" y="1915"/>
                  </a:moveTo>
                  <a:cubicBezTo>
                    <a:pt x="10863" y="1915"/>
                    <a:pt x="10224" y="1277"/>
                    <a:pt x="10224" y="1277"/>
                  </a:cubicBez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endParaRPr lang="en-US" dirty="0"/>
            </a:p>
          </p:txBody>
        </p:sp>
        <p:sp>
          <p:nvSpPr>
            <p:cNvPr id="25" name="Graphic 4">
              <a:extLst>
                <a:ext uri="{FF2B5EF4-FFF2-40B4-BE49-F238E27FC236}">
                  <a16:creationId xmlns:a16="http://schemas.microsoft.com/office/drawing/2014/main" id="{2E20CF95-128F-4A82-A8EE-F64FBBEA3C5C}"/>
                </a:ext>
              </a:extLst>
            </p:cNvPr>
            <p:cNvSpPr/>
            <p:nvPr/>
          </p:nvSpPr>
          <p:spPr>
            <a:xfrm>
              <a:off x="672221" y="1049050"/>
              <a:ext cx="12779" cy="12767"/>
            </a:xfrm>
            <a:custGeom>
              <a:avLst/>
              <a:gdLst>
                <a:gd name="connsiteX0" fmla="*/ 11502 w 12779"/>
                <a:gd name="connsiteY0" fmla="*/ 1915 h 12767"/>
                <a:gd name="connsiteX1" fmla="*/ 9585 w 12779"/>
                <a:gd name="connsiteY1" fmla="*/ 638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1502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1502" y="1915"/>
                  </a:moveTo>
                  <a:cubicBezTo>
                    <a:pt x="10863" y="1277"/>
                    <a:pt x="10224" y="638"/>
                    <a:pt x="9585" y="638"/>
                  </a:cubicBezTo>
                  <a:cubicBezTo>
                    <a:pt x="8307" y="0"/>
                    <a:pt x="7029" y="0"/>
                    <a:pt x="5751" y="0"/>
                  </a:cubicBezTo>
                  <a:cubicBezTo>
                    <a:pt x="5112" y="0"/>
                    <a:pt x="5112" y="0"/>
                    <a:pt x="4473" y="638"/>
                  </a:cubicBezTo>
                  <a:cubicBezTo>
                    <a:pt x="3834" y="638"/>
                    <a:pt x="3834" y="1277"/>
                    <a:pt x="3195" y="1277"/>
                  </a:cubicBezTo>
                  <a:cubicBezTo>
                    <a:pt x="2556" y="1277"/>
                    <a:pt x="2556" y="1915"/>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780" y="3192"/>
                    <a:pt x="12141" y="2554"/>
                    <a:pt x="11502" y="1915"/>
                  </a:cubicBezTo>
                  <a:close/>
                </a:path>
              </a:pathLst>
            </a:custGeom>
            <a:grpFill/>
            <a:ln w="6390" cap="flat">
              <a:noFill/>
              <a:prstDash val="solid"/>
              <a:miter/>
            </a:ln>
          </p:spPr>
          <p:txBody>
            <a:bodyPr rtlCol="0" anchor="ctr"/>
            <a:lstStyle/>
            <a:p>
              <a:endParaRPr lang="en-US" dirty="0"/>
            </a:p>
          </p:txBody>
        </p:sp>
      </p:grpSp>
      <p:sp>
        <p:nvSpPr>
          <p:cNvPr id="60" name="Title 1">
            <a:extLst>
              <a:ext uri="{FF2B5EF4-FFF2-40B4-BE49-F238E27FC236}">
                <a16:creationId xmlns:a16="http://schemas.microsoft.com/office/drawing/2014/main" id="{6DB94895-CC2F-4F1D-8164-993E0F18F2AF}"/>
              </a:ext>
            </a:extLst>
          </p:cNvPr>
          <p:cNvSpPr>
            <a:spLocks noGrp="1"/>
          </p:cNvSpPr>
          <p:nvPr>
            <p:ph type="title"/>
          </p:nvPr>
        </p:nvSpPr>
        <p:spPr>
          <a:xfrm>
            <a:off x="2381250" y="343190"/>
            <a:ext cx="6743700" cy="309820"/>
          </a:xfrm>
        </p:spPr>
        <p:txBody>
          <a:bodyPr/>
          <a:lstStyle/>
          <a:p>
            <a:r>
              <a:rPr lang="fr-FR" sz="2800" b="1" dirty="0">
                <a:solidFill>
                  <a:schemeClr val="accent1"/>
                </a:solidFill>
              </a:rPr>
              <a:t>Bilan du stage</a:t>
            </a:r>
          </a:p>
        </p:txBody>
      </p:sp>
      <p:sp>
        <p:nvSpPr>
          <p:cNvPr id="61" name="ZoneTexte 128">
            <a:extLst>
              <a:ext uri="{FF2B5EF4-FFF2-40B4-BE49-F238E27FC236}">
                <a16:creationId xmlns:a16="http://schemas.microsoft.com/office/drawing/2014/main" id="{26E5F018-F2F7-4B62-9895-320DA66A9A10}"/>
              </a:ext>
            </a:extLst>
          </p:cNvPr>
          <p:cNvSpPr txBox="1"/>
          <p:nvPr/>
        </p:nvSpPr>
        <p:spPr>
          <a:xfrm>
            <a:off x="504184" y="2001334"/>
            <a:ext cx="98424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dirty="0">
                <a:solidFill>
                  <a:srgbClr val="313131"/>
                </a:solidFill>
              </a:rPr>
              <a:t>Phase 1</a:t>
            </a:r>
          </a:p>
          <a:p>
            <a:pPr marL="342900" indent="-342900">
              <a:lnSpc>
                <a:spcPct val="250000"/>
              </a:lnSpc>
              <a:spcBef>
                <a:spcPts val="600"/>
              </a:spcBef>
              <a:buSzPct val="100000"/>
              <a:buFont typeface="+mj-lt"/>
              <a:buAutoNum type="arabicPeriod"/>
            </a:pPr>
            <a:r>
              <a:rPr lang="fr-FR" sz="1100" dirty="0">
                <a:solidFill>
                  <a:srgbClr val="313131"/>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Conclusion</a:t>
            </a:r>
          </a:p>
        </p:txBody>
      </p:sp>
    </p:spTree>
    <p:extLst>
      <p:ext uri="{BB962C8B-B14F-4D97-AF65-F5344CB8AC3E}">
        <p14:creationId xmlns:p14="http://schemas.microsoft.com/office/powerpoint/2010/main" val="1896424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4871D8-1AC5-41F0-818C-68374AF81A9B}"/>
              </a:ext>
            </a:extLst>
          </p:cNvPr>
          <p:cNvSpPr/>
          <p:nvPr/>
        </p:nvSpPr>
        <p:spPr bwMode="gray">
          <a:xfrm>
            <a:off x="11687175" y="0"/>
            <a:ext cx="504825"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5" name="Rectangle 4">
            <a:extLst>
              <a:ext uri="{FF2B5EF4-FFF2-40B4-BE49-F238E27FC236}">
                <a16:creationId xmlns:a16="http://schemas.microsoft.com/office/drawing/2014/main" id="{C35BAB8A-6514-4835-91B9-0F4884A90120}"/>
              </a:ext>
            </a:extLst>
          </p:cNvPr>
          <p:cNvSpPr/>
          <p:nvPr/>
        </p:nvSpPr>
        <p:spPr bwMode="gray">
          <a:xfrm>
            <a:off x="11182350" y="0"/>
            <a:ext cx="504825" cy="685800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6" name="Rectangle 5">
            <a:extLst>
              <a:ext uri="{FF2B5EF4-FFF2-40B4-BE49-F238E27FC236}">
                <a16:creationId xmlns:a16="http://schemas.microsoft.com/office/drawing/2014/main" id="{DD6F2691-E0E7-4FE9-840D-7EC1CA0613B4}"/>
              </a:ext>
            </a:extLst>
          </p:cNvPr>
          <p:cNvSpPr/>
          <p:nvPr/>
        </p:nvSpPr>
        <p:spPr bwMode="gray">
          <a:xfrm>
            <a:off x="10677525" y="0"/>
            <a:ext cx="504825"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8" name="Picture 2" descr="Eléments graphiques | INSA Lyon">
            <a:extLst>
              <a:ext uri="{FF2B5EF4-FFF2-40B4-BE49-F238E27FC236}">
                <a16:creationId xmlns:a16="http://schemas.microsoft.com/office/drawing/2014/main" id="{280C82A3-02FE-4093-9163-8EB8CB3B6E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1047" y="5749287"/>
            <a:ext cx="2146010" cy="61753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Deloitte Consulting LLP - Partner - Boomi">
            <a:extLst>
              <a:ext uri="{FF2B5EF4-FFF2-40B4-BE49-F238E27FC236}">
                <a16:creationId xmlns:a16="http://schemas.microsoft.com/office/drawing/2014/main" id="{7D5A965D-DFD6-4496-9BE6-F39616BD08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6355" y="5678799"/>
            <a:ext cx="1944895" cy="75851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17180DA-AF81-4642-ADA3-DA09A2C1F7D0}"/>
              </a:ext>
            </a:extLst>
          </p:cNvPr>
          <p:cNvSpPr txBox="1"/>
          <p:nvPr/>
        </p:nvSpPr>
        <p:spPr>
          <a:xfrm>
            <a:off x="3205163" y="3090446"/>
            <a:ext cx="5781675" cy="677108"/>
          </a:xfrm>
          <a:prstGeom prst="rect">
            <a:avLst/>
          </a:prstGeom>
          <a:noFill/>
        </p:spPr>
        <p:txBody>
          <a:bodyPr wrap="square" lIns="0" tIns="0" rIns="0" bIns="0" rtlCol="0">
            <a:spAutoFit/>
          </a:bodyPr>
          <a:lstStyle/>
          <a:p>
            <a:pPr algn="ctr">
              <a:spcBef>
                <a:spcPts val="600"/>
              </a:spcBef>
              <a:buSzPct val="100000"/>
            </a:pPr>
            <a:r>
              <a:rPr lang="fr-FR" sz="4400" b="1" dirty="0">
                <a:solidFill>
                  <a:schemeClr val="accent1"/>
                </a:solidFill>
              </a:rPr>
              <a:t>Merci de votre attention</a:t>
            </a:r>
            <a:endParaRPr lang="fr-FR" sz="6600" b="1" dirty="0"/>
          </a:p>
        </p:txBody>
      </p:sp>
    </p:spTree>
    <p:extLst>
      <p:ext uri="{BB962C8B-B14F-4D97-AF65-F5344CB8AC3E}">
        <p14:creationId xmlns:p14="http://schemas.microsoft.com/office/powerpoint/2010/main" val="1358371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370DEE-E1E4-45EA-884E-9DB608BC91CE}"/>
              </a:ext>
            </a:extLst>
          </p:cNvPr>
          <p:cNvSpPr/>
          <p:nvPr/>
        </p:nvSpPr>
        <p:spPr bwMode="gray">
          <a:xfrm>
            <a:off x="4429125" y="3276599"/>
            <a:ext cx="6743700" cy="96202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bg1"/>
                </a:solidFill>
              </a:rPr>
              <a:t>Matrice RACI</a:t>
            </a:r>
          </a:p>
        </p:txBody>
      </p:sp>
    </p:spTree>
    <p:extLst>
      <p:ext uri="{BB962C8B-B14F-4D97-AF65-F5344CB8AC3E}">
        <p14:creationId xmlns:p14="http://schemas.microsoft.com/office/powerpoint/2010/main" val="20128512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C3129E0-8032-4692-BEA4-12E638613BD4}"/>
              </a:ext>
            </a:extLst>
          </p:cNvPr>
          <p:cNvSpPr>
            <a:spLocks noGrp="1"/>
          </p:cNvSpPr>
          <p:nvPr>
            <p:ph type="title"/>
          </p:nvPr>
        </p:nvSpPr>
        <p:spPr>
          <a:xfrm>
            <a:off x="2381250" y="343190"/>
            <a:ext cx="6743700" cy="309820"/>
          </a:xfrm>
        </p:spPr>
        <p:txBody>
          <a:bodyPr/>
          <a:lstStyle/>
          <a:p>
            <a:r>
              <a:rPr lang="fr-FR" sz="2800" b="1" dirty="0">
                <a:solidFill>
                  <a:schemeClr val="accent1"/>
                </a:solidFill>
              </a:rPr>
              <a:t>Exemple de projet au sein du questionnaire</a:t>
            </a:r>
          </a:p>
        </p:txBody>
      </p:sp>
      <p:pic>
        <p:nvPicPr>
          <p:cNvPr id="5" name="Picture 4">
            <a:extLst>
              <a:ext uri="{FF2B5EF4-FFF2-40B4-BE49-F238E27FC236}">
                <a16:creationId xmlns:a16="http://schemas.microsoft.com/office/drawing/2014/main" id="{93ED1814-D20F-4ECE-ACCA-2129BF686685}"/>
              </a:ext>
            </a:extLst>
          </p:cNvPr>
          <p:cNvPicPr>
            <a:picLocks noChangeAspect="1"/>
          </p:cNvPicPr>
          <p:nvPr/>
        </p:nvPicPr>
        <p:blipFill>
          <a:blip r:embed="rId2"/>
          <a:stretch>
            <a:fillRect/>
          </a:stretch>
        </p:blipFill>
        <p:spPr>
          <a:xfrm>
            <a:off x="1226344" y="987427"/>
            <a:ext cx="9739312" cy="4883145"/>
          </a:xfrm>
          <a:prstGeom prst="rect">
            <a:avLst/>
          </a:prstGeom>
        </p:spPr>
      </p:pic>
      <p:sp>
        <p:nvSpPr>
          <p:cNvPr id="6" name="TextBox 5">
            <a:extLst>
              <a:ext uri="{FF2B5EF4-FFF2-40B4-BE49-F238E27FC236}">
                <a16:creationId xmlns:a16="http://schemas.microsoft.com/office/drawing/2014/main" id="{00F41E67-7E9A-40AC-9255-17ADC0D4A86A}"/>
              </a:ext>
            </a:extLst>
          </p:cNvPr>
          <p:cNvSpPr txBox="1"/>
          <p:nvPr/>
        </p:nvSpPr>
        <p:spPr>
          <a:xfrm>
            <a:off x="3143250" y="6219825"/>
            <a:ext cx="5981700" cy="276999"/>
          </a:xfrm>
          <a:prstGeom prst="rect">
            <a:avLst/>
          </a:prstGeom>
          <a:noFill/>
        </p:spPr>
        <p:txBody>
          <a:bodyPr wrap="square" lIns="0" tIns="0" rIns="0" bIns="0" rtlCol="0">
            <a:spAutoFit/>
          </a:bodyPr>
          <a:lstStyle/>
          <a:p>
            <a:pPr>
              <a:spcBef>
                <a:spcPts val="600"/>
              </a:spcBef>
              <a:buSzPct val="100000"/>
            </a:pPr>
            <a:r>
              <a:rPr lang="fr-FR" dirty="0">
                <a:solidFill>
                  <a:srgbClr val="313131"/>
                </a:solidFill>
              </a:rPr>
              <a:t>Les valeurs ont été modifiées pour des raisons de confidentialité</a:t>
            </a:r>
          </a:p>
        </p:txBody>
      </p:sp>
    </p:spTree>
    <p:extLst>
      <p:ext uri="{BB962C8B-B14F-4D97-AF65-F5344CB8AC3E}">
        <p14:creationId xmlns:p14="http://schemas.microsoft.com/office/powerpoint/2010/main" val="33900746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370DEE-E1E4-45EA-884E-9DB608BC91CE}"/>
              </a:ext>
            </a:extLst>
          </p:cNvPr>
          <p:cNvSpPr/>
          <p:nvPr/>
        </p:nvSpPr>
        <p:spPr bwMode="gray">
          <a:xfrm>
            <a:off x="4429125" y="3276599"/>
            <a:ext cx="6743700" cy="96202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bg1"/>
                </a:solidFill>
              </a:rPr>
              <a:t>Bien comprendre </a:t>
            </a:r>
            <a:r>
              <a:rPr lang="fr-FR" sz="1600" b="1" dirty="0" err="1">
                <a:solidFill>
                  <a:schemeClr val="bg1"/>
                </a:solidFill>
              </a:rPr>
              <a:t>difference</a:t>
            </a:r>
            <a:r>
              <a:rPr lang="fr-FR" sz="1600" b="1" dirty="0">
                <a:solidFill>
                  <a:schemeClr val="bg1"/>
                </a:solidFill>
              </a:rPr>
              <a:t> AD et IAM</a:t>
            </a:r>
          </a:p>
          <a:p>
            <a:pPr algn="ctr">
              <a:lnSpc>
                <a:spcPct val="106000"/>
              </a:lnSpc>
              <a:buFont typeface="Wingdings 2" pitchFamily="18" charset="2"/>
              <a:buNone/>
            </a:pPr>
            <a:r>
              <a:rPr lang="fr-FR" sz="1600" b="1" dirty="0">
                <a:solidFill>
                  <a:schemeClr val="bg1"/>
                </a:solidFill>
              </a:rPr>
              <a:t>Connaitre autres applications IAM</a:t>
            </a:r>
          </a:p>
        </p:txBody>
      </p:sp>
    </p:spTree>
    <p:extLst>
      <p:ext uri="{BB962C8B-B14F-4D97-AF65-F5344CB8AC3E}">
        <p14:creationId xmlns:p14="http://schemas.microsoft.com/office/powerpoint/2010/main" val="30127637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kite, water, person, people&#10;&#10;Description automatically generated">
            <a:extLst>
              <a:ext uri="{FF2B5EF4-FFF2-40B4-BE49-F238E27FC236}">
                <a16:creationId xmlns:a16="http://schemas.microsoft.com/office/drawing/2014/main" id="{0858EDA5-6B4D-425B-8094-AA5267EE6A4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10" name="Text Placeholder 6">
            <a:extLst>
              <a:ext uri="{FF2B5EF4-FFF2-40B4-BE49-F238E27FC236}">
                <a16:creationId xmlns:a16="http://schemas.microsoft.com/office/drawing/2014/main" id="{A6A815C9-A275-4375-A9F3-2CE3D1197979}"/>
              </a:ext>
            </a:extLst>
          </p:cNvPr>
          <p:cNvSpPr txBox="1">
            <a:spLocks/>
          </p:cNvSpPr>
          <p:nvPr/>
        </p:nvSpPr>
        <p:spPr>
          <a:xfrm>
            <a:off x="350982" y="3344276"/>
            <a:ext cx="4682836" cy="590996"/>
          </a:xfrm>
          <a:prstGeom prst="rect">
            <a:avLst/>
          </a:prstGeom>
        </p:spPr>
        <p:txBody>
          <a:bodyPr wrap="square">
            <a:spAutoFit/>
          </a:bodyPr>
          <a:lstStyle>
            <a:lvl1pPr marL="0" indent="0" algn="l" defTabSz="1069215" rtl="0" eaLnBrk="1" latinLnBrk="0" hangingPunct="1">
              <a:lnSpc>
                <a:spcPts val="4340"/>
              </a:lnSpc>
              <a:spcBef>
                <a:spcPts val="0"/>
              </a:spcBef>
              <a:spcAft>
                <a:spcPts val="1169"/>
              </a:spcAft>
              <a:buSzPct val="100000"/>
              <a:buFontTx/>
              <a:buNone/>
              <a:defRPr sz="3200" b="0" i="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1069215" rtl="0" eaLnBrk="1" latinLnBrk="0" hangingPunct="1">
              <a:spcBef>
                <a:spcPts val="0"/>
              </a:spcBef>
              <a:spcAft>
                <a:spcPts val="1169"/>
              </a:spcAft>
              <a:buClrTx/>
              <a:buSzPct val="100000"/>
              <a:buFontTx/>
              <a:buNone/>
              <a:defRPr lang="en-US" sz="1270" b="1" kern="1200">
                <a:solidFill>
                  <a:schemeClr val="tx1"/>
                </a:solidFill>
                <a:latin typeface="+mj-lt"/>
                <a:ea typeface="+mn-ea"/>
                <a:cs typeface="Calibri Light" panose="020F0302020204030204" pitchFamily="34" charset="0"/>
              </a:defRPr>
            </a:lvl2pPr>
            <a:lvl3pPr marL="914400" indent="0" algn="l" defTabSz="1069215" rtl="0" eaLnBrk="1" latinLnBrk="0" hangingPunct="1">
              <a:spcBef>
                <a:spcPts val="0"/>
              </a:spcBef>
              <a:spcAft>
                <a:spcPts val="1169"/>
              </a:spcAft>
              <a:buClrTx/>
              <a:buSzPct val="100000"/>
              <a:buFontTx/>
              <a:buNone/>
              <a:defRPr lang="en-US" sz="1270" kern="1200">
                <a:solidFill>
                  <a:schemeClr val="tx1"/>
                </a:solidFill>
                <a:latin typeface="+mn-lt"/>
                <a:ea typeface="+mn-ea"/>
                <a:cs typeface="Calibri Light" panose="020F0302020204030204" pitchFamily="34" charset="0"/>
              </a:defRPr>
            </a:lvl3pPr>
            <a:lvl4pPr marL="1371600" indent="0" algn="l" defTabSz="1069215" rtl="0" eaLnBrk="1" latinLnBrk="0" hangingPunct="1">
              <a:spcBef>
                <a:spcPts val="0"/>
              </a:spcBef>
              <a:spcAft>
                <a:spcPts val="1169"/>
              </a:spcAft>
              <a:buClrTx/>
              <a:buSzPct val="100000"/>
              <a:buFontTx/>
              <a:buNone/>
              <a:defRPr lang="en-US" sz="1270" kern="1200" baseline="0">
                <a:solidFill>
                  <a:schemeClr val="tx1"/>
                </a:solidFill>
                <a:latin typeface="+mn-lt"/>
                <a:ea typeface="+mn-ea"/>
                <a:cs typeface="Calibri Light" panose="020F0302020204030204" pitchFamily="34" charset="0"/>
              </a:defRPr>
            </a:lvl4pPr>
            <a:lvl5pPr marL="1828800" indent="0" algn="l" defTabSz="933707" rtl="0" eaLnBrk="1" latinLnBrk="0" hangingPunct="1">
              <a:spcBef>
                <a:spcPts val="0"/>
              </a:spcBef>
              <a:spcAft>
                <a:spcPts val="1169"/>
              </a:spcAft>
              <a:buClrTx/>
              <a:buSzPct val="100000"/>
              <a:buFontTx/>
              <a:buNone/>
              <a:tabLst/>
              <a:defRPr lang="en-US" sz="1270" kern="1200" baseline="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r>
              <a:rPr lang="fr-FR" b="1" dirty="0">
                <a:latin typeface="Verdana" panose="020B0604030504040204" pitchFamily="34" charset="0"/>
                <a:ea typeface="Verdana" panose="020B0604030504040204" pitchFamily="34" charset="0"/>
              </a:rPr>
              <a:t>01 - Entreprise</a:t>
            </a:r>
          </a:p>
        </p:txBody>
      </p:sp>
    </p:spTree>
    <p:extLst>
      <p:ext uri="{BB962C8B-B14F-4D97-AF65-F5344CB8AC3E}">
        <p14:creationId xmlns:p14="http://schemas.microsoft.com/office/powerpoint/2010/main" val="20371522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CB9530-2B51-48AE-8235-459FFE82E501}"/>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1028" name="Picture 4" descr="Deloitte Consulting LLP - Partner - Boomi">
            <a:extLst>
              <a:ext uri="{FF2B5EF4-FFF2-40B4-BE49-F238E27FC236}">
                <a16:creationId xmlns:a16="http://schemas.microsoft.com/office/drawing/2014/main" id="{4831ECA3-7EC4-432C-9612-DE5ED7997B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128">
            <a:extLst>
              <a:ext uri="{FF2B5EF4-FFF2-40B4-BE49-F238E27FC236}">
                <a16:creationId xmlns:a16="http://schemas.microsoft.com/office/drawing/2014/main" id="{D17CDCD0-3B35-4BC1-81E0-D7AA91B20D1E}"/>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dirty="0">
                <a:solidFill>
                  <a:srgbClr val="313131"/>
                </a:solidFill>
              </a:rPr>
              <a:t>Phase 1</a:t>
            </a:r>
          </a:p>
          <a:p>
            <a:pPr marL="342900" indent="-342900">
              <a:lnSpc>
                <a:spcPct val="250000"/>
              </a:lnSpc>
              <a:spcBef>
                <a:spcPts val="600"/>
              </a:spcBef>
              <a:buSzPct val="100000"/>
              <a:buFont typeface="+mj-lt"/>
              <a:buAutoNum type="arabicPeriod"/>
            </a:pPr>
            <a:r>
              <a:rPr lang="fr-FR" sz="1100" dirty="0">
                <a:solidFill>
                  <a:srgbClr val="313131"/>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sp>
        <p:nvSpPr>
          <p:cNvPr id="9" name="AutoShape 23">
            <a:extLst>
              <a:ext uri="{FF2B5EF4-FFF2-40B4-BE49-F238E27FC236}">
                <a16:creationId xmlns:a16="http://schemas.microsoft.com/office/drawing/2014/main" id="{75C18417-1130-484A-90F7-ADBE821582AB}"/>
              </a:ext>
            </a:extLst>
          </p:cNvPr>
          <p:cNvSpPr>
            <a:spLocks/>
          </p:cNvSpPr>
          <p:nvPr/>
        </p:nvSpPr>
        <p:spPr bwMode="auto">
          <a:xfrm>
            <a:off x="4670413" y="2695749"/>
            <a:ext cx="472005" cy="355915"/>
          </a:xfrm>
          <a:custGeom>
            <a:avLst/>
            <a:gdLst/>
            <a:ahLst/>
            <a:cxnLst/>
            <a:rect l="0" t="0" r="r" b="b"/>
            <a:pathLst>
              <a:path w="21600" h="21600">
                <a:moveTo>
                  <a:pt x="13935" y="0"/>
                </a:moveTo>
                <a:cubicBezTo>
                  <a:pt x="13758" y="0"/>
                  <a:pt x="13594" y="56"/>
                  <a:pt x="13443" y="147"/>
                </a:cubicBezTo>
                <a:lnTo>
                  <a:pt x="13437" y="139"/>
                </a:lnTo>
                <a:lnTo>
                  <a:pt x="13412" y="163"/>
                </a:lnTo>
                <a:cubicBezTo>
                  <a:pt x="13360" y="197"/>
                  <a:pt x="13312" y="234"/>
                  <a:pt x="13265" y="277"/>
                </a:cubicBezTo>
                <a:lnTo>
                  <a:pt x="7727" y="4460"/>
                </a:lnTo>
                <a:cubicBezTo>
                  <a:pt x="7342" y="4724"/>
                  <a:pt x="7081" y="5258"/>
                  <a:pt x="7081" y="5871"/>
                </a:cubicBezTo>
                <a:cubicBezTo>
                  <a:pt x="7081" y="6746"/>
                  <a:pt x="7614" y="7453"/>
                  <a:pt x="8274" y="7453"/>
                </a:cubicBezTo>
                <a:cubicBezTo>
                  <a:pt x="8420" y="7453"/>
                  <a:pt x="8562" y="7419"/>
                  <a:pt x="8692" y="7355"/>
                </a:cubicBezTo>
                <a:cubicBezTo>
                  <a:pt x="8774" y="7314"/>
                  <a:pt x="8853" y="7262"/>
                  <a:pt x="8925" y="7200"/>
                </a:cubicBezTo>
                <a:cubicBezTo>
                  <a:pt x="9502" y="6817"/>
                  <a:pt x="11015" y="5806"/>
                  <a:pt x="11808" y="5251"/>
                </a:cubicBezTo>
                <a:cubicBezTo>
                  <a:pt x="12801" y="4557"/>
                  <a:pt x="13443" y="5325"/>
                  <a:pt x="13443" y="5325"/>
                </a:cubicBezTo>
                <a:lnTo>
                  <a:pt x="18096" y="11375"/>
                </a:lnTo>
                <a:lnTo>
                  <a:pt x="18102" y="11383"/>
                </a:lnTo>
                <a:cubicBezTo>
                  <a:pt x="18321" y="11706"/>
                  <a:pt x="18635" y="11905"/>
                  <a:pt x="18988" y="11905"/>
                </a:cubicBezTo>
                <a:cubicBezTo>
                  <a:pt x="19012" y="11905"/>
                  <a:pt x="19038" y="11907"/>
                  <a:pt x="19061" y="11905"/>
                </a:cubicBezTo>
                <a:lnTo>
                  <a:pt x="19068" y="11905"/>
                </a:lnTo>
                <a:lnTo>
                  <a:pt x="19104" y="11897"/>
                </a:lnTo>
                <a:cubicBezTo>
                  <a:pt x="19149" y="11891"/>
                  <a:pt x="19196" y="11885"/>
                  <a:pt x="19240" y="11872"/>
                </a:cubicBezTo>
                <a:lnTo>
                  <a:pt x="21600" y="11375"/>
                </a:lnTo>
                <a:lnTo>
                  <a:pt x="21600" y="2675"/>
                </a:lnTo>
                <a:cubicBezTo>
                  <a:pt x="21600" y="2675"/>
                  <a:pt x="20595" y="2978"/>
                  <a:pt x="19172" y="3441"/>
                </a:cubicBezTo>
                <a:cubicBezTo>
                  <a:pt x="17749" y="3904"/>
                  <a:pt x="17445" y="3612"/>
                  <a:pt x="17445" y="3612"/>
                </a:cubicBezTo>
                <a:lnTo>
                  <a:pt x="14802" y="489"/>
                </a:lnTo>
                <a:cubicBezTo>
                  <a:pt x="14582" y="187"/>
                  <a:pt x="14275" y="0"/>
                  <a:pt x="13935" y="0"/>
                </a:cubicBezTo>
                <a:close/>
                <a:moveTo>
                  <a:pt x="8261" y="261"/>
                </a:moveTo>
                <a:cubicBezTo>
                  <a:pt x="7715" y="254"/>
                  <a:pt x="7315" y="440"/>
                  <a:pt x="7315" y="440"/>
                </a:cubicBezTo>
                <a:cubicBezTo>
                  <a:pt x="7315" y="440"/>
                  <a:pt x="5041" y="1964"/>
                  <a:pt x="4155" y="2658"/>
                </a:cubicBezTo>
                <a:cubicBezTo>
                  <a:pt x="3270" y="3353"/>
                  <a:pt x="2360" y="2846"/>
                  <a:pt x="2360" y="2846"/>
                </a:cubicBezTo>
                <a:lnTo>
                  <a:pt x="0" y="1647"/>
                </a:lnTo>
                <a:lnTo>
                  <a:pt x="0" y="11628"/>
                </a:lnTo>
                <a:lnTo>
                  <a:pt x="1156" y="12190"/>
                </a:lnTo>
                <a:lnTo>
                  <a:pt x="1260" y="12280"/>
                </a:lnTo>
                <a:cubicBezTo>
                  <a:pt x="1271" y="12239"/>
                  <a:pt x="1284" y="12197"/>
                  <a:pt x="1297" y="12158"/>
                </a:cubicBezTo>
                <a:cubicBezTo>
                  <a:pt x="1403" y="11214"/>
                  <a:pt x="2013" y="10486"/>
                  <a:pt x="2754" y="10486"/>
                </a:cubicBezTo>
                <a:cubicBezTo>
                  <a:pt x="3570" y="10486"/>
                  <a:pt x="4235" y="11369"/>
                  <a:pt x="4235" y="12451"/>
                </a:cubicBezTo>
                <a:cubicBezTo>
                  <a:pt x="4235" y="12511"/>
                  <a:pt x="4227" y="12572"/>
                  <a:pt x="4223" y="12631"/>
                </a:cubicBezTo>
                <a:cubicBezTo>
                  <a:pt x="4248" y="12629"/>
                  <a:pt x="4277" y="12622"/>
                  <a:pt x="4303" y="12622"/>
                </a:cubicBezTo>
                <a:cubicBezTo>
                  <a:pt x="5119" y="12622"/>
                  <a:pt x="5778" y="13497"/>
                  <a:pt x="5778" y="14579"/>
                </a:cubicBezTo>
                <a:cubicBezTo>
                  <a:pt x="5778" y="14612"/>
                  <a:pt x="5779" y="14645"/>
                  <a:pt x="5778" y="14677"/>
                </a:cubicBezTo>
                <a:cubicBezTo>
                  <a:pt x="5841" y="14667"/>
                  <a:pt x="5904" y="14661"/>
                  <a:pt x="5969" y="14661"/>
                </a:cubicBezTo>
                <a:cubicBezTo>
                  <a:pt x="6813" y="14661"/>
                  <a:pt x="7499" y="15544"/>
                  <a:pt x="7542" y="16650"/>
                </a:cubicBezTo>
                <a:cubicBezTo>
                  <a:pt x="7666" y="16614"/>
                  <a:pt x="7792" y="16593"/>
                  <a:pt x="7923" y="16593"/>
                </a:cubicBezTo>
                <a:cubicBezTo>
                  <a:pt x="8889" y="16593"/>
                  <a:pt x="9675" y="17628"/>
                  <a:pt x="9675" y="18909"/>
                </a:cubicBezTo>
                <a:cubicBezTo>
                  <a:pt x="9675" y="18957"/>
                  <a:pt x="9671" y="19009"/>
                  <a:pt x="9669" y="19056"/>
                </a:cubicBezTo>
                <a:cubicBezTo>
                  <a:pt x="9675" y="19096"/>
                  <a:pt x="9683" y="19137"/>
                  <a:pt x="9687" y="19178"/>
                </a:cubicBezTo>
                <a:lnTo>
                  <a:pt x="9933" y="19374"/>
                </a:lnTo>
                <a:lnTo>
                  <a:pt x="10339" y="19953"/>
                </a:lnTo>
                <a:cubicBezTo>
                  <a:pt x="10510" y="20264"/>
                  <a:pt x="10789" y="20467"/>
                  <a:pt x="11101" y="20467"/>
                </a:cubicBezTo>
                <a:cubicBezTo>
                  <a:pt x="11620" y="20467"/>
                  <a:pt x="12042" y="19915"/>
                  <a:pt x="12042" y="19227"/>
                </a:cubicBezTo>
                <a:cubicBezTo>
                  <a:pt x="12042" y="18969"/>
                  <a:pt x="11977" y="18725"/>
                  <a:pt x="11876" y="18526"/>
                </a:cubicBezTo>
                <a:lnTo>
                  <a:pt x="11882" y="18518"/>
                </a:lnTo>
                <a:lnTo>
                  <a:pt x="11845" y="18469"/>
                </a:lnTo>
                <a:cubicBezTo>
                  <a:pt x="11797" y="18386"/>
                  <a:pt x="11741" y="18313"/>
                  <a:pt x="11679" y="18249"/>
                </a:cubicBezTo>
                <a:lnTo>
                  <a:pt x="10419" y="16553"/>
                </a:lnTo>
                <a:cubicBezTo>
                  <a:pt x="10386" y="16514"/>
                  <a:pt x="10364" y="16460"/>
                  <a:pt x="10364" y="16398"/>
                </a:cubicBezTo>
                <a:cubicBezTo>
                  <a:pt x="10364" y="16282"/>
                  <a:pt x="10436" y="16186"/>
                  <a:pt x="10523" y="16186"/>
                </a:cubicBezTo>
                <a:cubicBezTo>
                  <a:pt x="10568" y="16186"/>
                  <a:pt x="10605" y="16211"/>
                  <a:pt x="10634" y="16251"/>
                </a:cubicBezTo>
                <a:lnTo>
                  <a:pt x="12447" y="18656"/>
                </a:lnTo>
                <a:lnTo>
                  <a:pt x="12454" y="18648"/>
                </a:lnTo>
                <a:cubicBezTo>
                  <a:pt x="12616" y="18828"/>
                  <a:pt x="12821" y="18942"/>
                  <a:pt x="13050" y="18942"/>
                </a:cubicBezTo>
                <a:cubicBezTo>
                  <a:pt x="13569" y="18942"/>
                  <a:pt x="13990" y="18383"/>
                  <a:pt x="13990" y="17694"/>
                </a:cubicBezTo>
                <a:cubicBezTo>
                  <a:pt x="13990" y="17452"/>
                  <a:pt x="13939" y="17225"/>
                  <a:pt x="13849" y="17034"/>
                </a:cubicBezTo>
                <a:lnTo>
                  <a:pt x="13855" y="17026"/>
                </a:lnTo>
                <a:lnTo>
                  <a:pt x="13806" y="16952"/>
                </a:lnTo>
                <a:cubicBezTo>
                  <a:pt x="13761" y="16871"/>
                  <a:pt x="13711" y="16797"/>
                  <a:pt x="13652" y="16732"/>
                </a:cubicBezTo>
                <a:lnTo>
                  <a:pt x="12152" y="14604"/>
                </a:lnTo>
                <a:cubicBezTo>
                  <a:pt x="12111" y="14570"/>
                  <a:pt x="12079" y="14509"/>
                  <a:pt x="12079" y="14441"/>
                </a:cubicBezTo>
                <a:cubicBezTo>
                  <a:pt x="12079" y="14336"/>
                  <a:pt x="12147" y="14253"/>
                  <a:pt x="12226" y="14253"/>
                </a:cubicBezTo>
                <a:cubicBezTo>
                  <a:pt x="12282" y="14253"/>
                  <a:pt x="12325" y="14297"/>
                  <a:pt x="12349" y="14359"/>
                </a:cubicBezTo>
                <a:lnTo>
                  <a:pt x="14242" y="16814"/>
                </a:lnTo>
                <a:lnTo>
                  <a:pt x="14248" y="16805"/>
                </a:lnTo>
                <a:cubicBezTo>
                  <a:pt x="14414" y="16998"/>
                  <a:pt x="14626" y="17115"/>
                  <a:pt x="14863" y="17115"/>
                </a:cubicBezTo>
                <a:cubicBezTo>
                  <a:pt x="15382" y="17115"/>
                  <a:pt x="15804" y="16556"/>
                  <a:pt x="15804" y="15868"/>
                </a:cubicBezTo>
                <a:cubicBezTo>
                  <a:pt x="15804" y="15594"/>
                  <a:pt x="15738" y="15339"/>
                  <a:pt x="15625" y="15134"/>
                </a:cubicBezTo>
                <a:lnTo>
                  <a:pt x="15631" y="15126"/>
                </a:lnTo>
                <a:lnTo>
                  <a:pt x="15576" y="15052"/>
                </a:lnTo>
                <a:cubicBezTo>
                  <a:pt x="15555" y="15020"/>
                  <a:pt x="15532" y="14992"/>
                  <a:pt x="15508" y="14963"/>
                </a:cubicBezTo>
                <a:lnTo>
                  <a:pt x="14039" y="12940"/>
                </a:lnTo>
                <a:lnTo>
                  <a:pt x="14039" y="12932"/>
                </a:lnTo>
                <a:cubicBezTo>
                  <a:pt x="14010" y="12894"/>
                  <a:pt x="13990" y="12845"/>
                  <a:pt x="13990" y="12785"/>
                </a:cubicBezTo>
                <a:cubicBezTo>
                  <a:pt x="13990" y="12668"/>
                  <a:pt x="14068" y="12573"/>
                  <a:pt x="14156" y="12573"/>
                </a:cubicBezTo>
                <a:cubicBezTo>
                  <a:pt x="14221" y="12573"/>
                  <a:pt x="14272" y="12623"/>
                  <a:pt x="14298" y="12696"/>
                </a:cubicBezTo>
                <a:lnTo>
                  <a:pt x="15828" y="14620"/>
                </a:lnTo>
                <a:lnTo>
                  <a:pt x="15834" y="14620"/>
                </a:lnTo>
                <a:cubicBezTo>
                  <a:pt x="16004" y="14869"/>
                  <a:pt x="16250" y="15020"/>
                  <a:pt x="16523" y="15020"/>
                </a:cubicBezTo>
                <a:cubicBezTo>
                  <a:pt x="17034" y="15020"/>
                  <a:pt x="17445" y="14475"/>
                  <a:pt x="17445" y="13797"/>
                </a:cubicBezTo>
                <a:cubicBezTo>
                  <a:pt x="17445" y="13412"/>
                  <a:pt x="17315" y="13068"/>
                  <a:pt x="17107" y="12843"/>
                </a:cubicBezTo>
                <a:cubicBezTo>
                  <a:pt x="16574" y="12133"/>
                  <a:pt x="13897" y="8561"/>
                  <a:pt x="13173" y="7648"/>
                </a:cubicBezTo>
                <a:cubicBezTo>
                  <a:pt x="12367" y="6634"/>
                  <a:pt x="11384" y="7200"/>
                  <a:pt x="11384" y="7200"/>
                </a:cubicBezTo>
                <a:lnTo>
                  <a:pt x="9054" y="8594"/>
                </a:lnTo>
                <a:cubicBezTo>
                  <a:pt x="8739" y="8846"/>
                  <a:pt x="8374" y="8994"/>
                  <a:pt x="7979" y="8994"/>
                </a:cubicBezTo>
                <a:cubicBezTo>
                  <a:pt x="6820" y="8994"/>
                  <a:pt x="5883" y="7750"/>
                  <a:pt x="5883" y="6213"/>
                </a:cubicBezTo>
                <a:cubicBezTo>
                  <a:pt x="5883" y="5220"/>
                  <a:pt x="6276" y="4349"/>
                  <a:pt x="6866" y="3857"/>
                </a:cubicBezTo>
                <a:lnTo>
                  <a:pt x="6854" y="3832"/>
                </a:lnTo>
                <a:lnTo>
                  <a:pt x="10075" y="1239"/>
                </a:lnTo>
                <a:cubicBezTo>
                  <a:pt x="9501" y="465"/>
                  <a:pt x="8807" y="268"/>
                  <a:pt x="8261" y="261"/>
                </a:cubicBezTo>
                <a:close/>
                <a:moveTo>
                  <a:pt x="2920" y="11742"/>
                </a:moveTo>
                <a:cubicBezTo>
                  <a:pt x="2178" y="11742"/>
                  <a:pt x="1574" y="12551"/>
                  <a:pt x="1574" y="13544"/>
                </a:cubicBezTo>
                <a:cubicBezTo>
                  <a:pt x="1574" y="14537"/>
                  <a:pt x="2178" y="15338"/>
                  <a:pt x="2920" y="15338"/>
                </a:cubicBezTo>
                <a:cubicBezTo>
                  <a:pt x="2943" y="15338"/>
                  <a:pt x="2964" y="15339"/>
                  <a:pt x="2987" y="15338"/>
                </a:cubicBezTo>
                <a:cubicBezTo>
                  <a:pt x="2984" y="15391"/>
                  <a:pt x="2981" y="15446"/>
                  <a:pt x="2981" y="15501"/>
                </a:cubicBezTo>
                <a:cubicBezTo>
                  <a:pt x="2981" y="16494"/>
                  <a:pt x="3579" y="17295"/>
                  <a:pt x="4321" y="17295"/>
                </a:cubicBezTo>
                <a:cubicBezTo>
                  <a:pt x="4350" y="17295"/>
                  <a:pt x="4379" y="17289"/>
                  <a:pt x="4407" y="17287"/>
                </a:cubicBezTo>
                <a:cubicBezTo>
                  <a:pt x="4402" y="17354"/>
                  <a:pt x="4401" y="17429"/>
                  <a:pt x="4401" y="17499"/>
                </a:cubicBezTo>
                <a:cubicBezTo>
                  <a:pt x="4401" y="18561"/>
                  <a:pt x="5046" y="19423"/>
                  <a:pt x="5839" y="19423"/>
                </a:cubicBezTo>
                <a:cubicBezTo>
                  <a:pt x="5905" y="19423"/>
                  <a:pt x="5966" y="19410"/>
                  <a:pt x="6030" y="19398"/>
                </a:cubicBezTo>
                <a:cubicBezTo>
                  <a:pt x="6029" y="19422"/>
                  <a:pt x="6030" y="19448"/>
                  <a:pt x="6030" y="19472"/>
                </a:cubicBezTo>
                <a:cubicBezTo>
                  <a:pt x="6030" y="20648"/>
                  <a:pt x="6744" y="21600"/>
                  <a:pt x="7622" y="21600"/>
                </a:cubicBezTo>
                <a:cubicBezTo>
                  <a:pt x="8501" y="21600"/>
                  <a:pt x="9208" y="20648"/>
                  <a:pt x="9208" y="19472"/>
                </a:cubicBezTo>
                <a:cubicBezTo>
                  <a:pt x="9208" y="18296"/>
                  <a:pt x="8501" y="17344"/>
                  <a:pt x="7622" y="17344"/>
                </a:cubicBezTo>
                <a:cubicBezTo>
                  <a:pt x="7502" y="17344"/>
                  <a:pt x="7384" y="17359"/>
                  <a:pt x="7272" y="17393"/>
                </a:cubicBezTo>
                <a:cubicBezTo>
                  <a:pt x="7232" y="16377"/>
                  <a:pt x="6608" y="15574"/>
                  <a:pt x="5839" y="15574"/>
                </a:cubicBezTo>
                <a:cubicBezTo>
                  <a:pt x="5781" y="15574"/>
                  <a:pt x="5718" y="15581"/>
                  <a:pt x="5661" y="15590"/>
                </a:cubicBezTo>
                <a:cubicBezTo>
                  <a:pt x="5662" y="15560"/>
                  <a:pt x="5667" y="15531"/>
                  <a:pt x="5667" y="15501"/>
                </a:cubicBezTo>
                <a:cubicBezTo>
                  <a:pt x="5667" y="14508"/>
                  <a:pt x="5063" y="13699"/>
                  <a:pt x="4321" y="13699"/>
                </a:cubicBezTo>
                <a:cubicBezTo>
                  <a:pt x="4298" y="13699"/>
                  <a:pt x="4277" y="13705"/>
                  <a:pt x="4254" y="13707"/>
                </a:cubicBezTo>
                <a:cubicBezTo>
                  <a:pt x="4257" y="13653"/>
                  <a:pt x="4260" y="13599"/>
                  <a:pt x="4260" y="13544"/>
                </a:cubicBezTo>
                <a:cubicBezTo>
                  <a:pt x="4260" y="12551"/>
                  <a:pt x="3662" y="11742"/>
                  <a:pt x="2920" y="11742"/>
                </a:cubicBezTo>
                <a:close/>
                <a:moveTo>
                  <a:pt x="2920" y="11742"/>
                </a:moveTo>
              </a:path>
            </a:pathLst>
          </a:custGeom>
          <a:solidFill>
            <a:srgbClr val="FFFEFE"/>
          </a:soli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pl-PL"/>
          </a:p>
        </p:txBody>
      </p:sp>
      <p:pic>
        <p:nvPicPr>
          <p:cNvPr id="10" name="Picture 2" descr="Image associÃ©e">
            <a:extLst>
              <a:ext uri="{FF2B5EF4-FFF2-40B4-BE49-F238E27FC236}">
                <a16:creationId xmlns:a16="http://schemas.microsoft.com/office/drawing/2014/main" id="{F5DB796D-FF9C-4D45-A1E4-17A4DC7DB4DE}"/>
              </a:ext>
            </a:extLst>
          </p:cNvPr>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r="8135"/>
          <a:stretch/>
        </p:blipFill>
        <p:spPr bwMode="auto">
          <a:xfrm>
            <a:off x="3531297" y="2184866"/>
            <a:ext cx="2226895" cy="2322486"/>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e 169">
            <a:extLst>
              <a:ext uri="{FF2B5EF4-FFF2-40B4-BE49-F238E27FC236}">
                <a16:creationId xmlns:a16="http://schemas.microsoft.com/office/drawing/2014/main" id="{9E494086-7DBD-4834-960D-E8B6413D42B2}"/>
              </a:ext>
            </a:extLst>
          </p:cNvPr>
          <p:cNvGrpSpPr/>
          <p:nvPr/>
        </p:nvGrpSpPr>
        <p:grpSpPr>
          <a:xfrm>
            <a:off x="5668630" y="3195714"/>
            <a:ext cx="432738" cy="430564"/>
            <a:chOff x="5668630" y="3195714"/>
            <a:chExt cx="432738" cy="430564"/>
          </a:xfrm>
          <a:solidFill>
            <a:schemeClr val="accent5"/>
          </a:solidFill>
        </p:grpSpPr>
        <p:sp>
          <p:nvSpPr>
            <p:cNvPr id="12" name="Freeform 796">
              <a:extLst>
                <a:ext uri="{FF2B5EF4-FFF2-40B4-BE49-F238E27FC236}">
                  <a16:creationId xmlns:a16="http://schemas.microsoft.com/office/drawing/2014/main" id="{0C07BD1D-1064-444B-BBBD-D71CB08E3779}"/>
                </a:ext>
              </a:extLst>
            </p:cNvPr>
            <p:cNvSpPr>
              <a:spLocks noEditPoints="1"/>
            </p:cNvSpPr>
            <p:nvPr/>
          </p:nvSpPr>
          <p:spPr bwMode="auto">
            <a:xfrm>
              <a:off x="5668630" y="3317490"/>
              <a:ext cx="123950" cy="308788"/>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endParaRPr lang="en-GB" dirty="0">
                <a:solidFill>
                  <a:prstClr val="black"/>
                </a:solidFill>
                <a:latin typeface="Verdana"/>
              </a:endParaRPr>
            </a:p>
          </p:txBody>
        </p:sp>
        <p:sp>
          <p:nvSpPr>
            <p:cNvPr id="13" name="Freeform 797">
              <a:extLst>
                <a:ext uri="{FF2B5EF4-FFF2-40B4-BE49-F238E27FC236}">
                  <a16:creationId xmlns:a16="http://schemas.microsoft.com/office/drawing/2014/main" id="{59140B08-93EB-4E9F-BB82-B06291BD277C}"/>
                </a:ext>
              </a:extLst>
            </p:cNvPr>
            <p:cNvSpPr>
              <a:spLocks noEditPoints="1"/>
            </p:cNvSpPr>
            <p:nvPr/>
          </p:nvSpPr>
          <p:spPr bwMode="auto">
            <a:xfrm>
              <a:off x="5686026" y="3195714"/>
              <a:ext cx="91332" cy="9133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endParaRPr lang="en-GB" dirty="0">
                <a:solidFill>
                  <a:prstClr val="black"/>
                </a:solidFill>
                <a:latin typeface="Verdana"/>
              </a:endParaRPr>
            </a:p>
          </p:txBody>
        </p:sp>
        <p:sp>
          <p:nvSpPr>
            <p:cNvPr id="14" name="Freeform 798">
              <a:extLst>
                <a:ext uri="{FF2B5EF4-FFF2-40B4-BE49-F238E27FC236}">
                  <a16:creationId xmlns:a16="http://schemas.microsoft.com/office/drawing/2014/main" id="{083BF061-7B68-438A-81B2-794366365140}"/>
                </a:ext>
              </a:extLst>
            </p:cNvPr>
            <p:cNvSpPr>
              <a:spLocks noEditPoints="1"/>
            </p:cNvSpPr>
            <p:nvPr/>
          </p:nvSpPr>
          <p:spPr bwMode="auto">
            <a:xfrm>
              <a:off x="5823024" y="3317490"/>
              <a:ext cx="126125" cy="308788"/>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endParaRPr lang="en-GB" dirty="0">
                <a:solidFill>
                  <a:prstClr val="black"/>
                </a:solidFill>
                <a:latin typeface="Verdana"/>
              </a:endParaRPr>
            </a:p>
          </p:txBody>
        </p:sp>
        <p:sp>
          <p:nvSpPr>
            <p:cNvPr id="15" name="Freeform 799">
              <a:extLst>
                <a:ext uri="{FF2B5EF4-FFF2-40B4-BE49-F238E27FC236}">
                  <a16:creationId xmlns:a16="http://schemas.microsoft.com/office/drawing/2014/main" id="{F873310F-4798-4339-8FDD-131DCB36973B}"/>
                </a:ext>
              </a:extLst>
            </p:cNvPr>
            <p:cNvSpPr>
              <a:spLocks noEditPoints="1"/>
            </p:cNvSpPr>
            <p:nvPr/>
          </p:nvSpPr>
          <p:spPr bwMode="auto">
            <a:xfrm>
              <a:off x="5840420" y="3195714"/>
              <a:ext cx="91332" cy="9133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endParaRPr lang="en-GB" dirty="0">
                <a:solidFill>
                  <a:prstClr val="black"/>
                </a:solidFill>
                <a:latin typeface="Verdana"/>
              </a:endParaRPr>
            </a:p>
          </p:txBody>
        </p:sp>
        <p:sp>
          <p:nvSpPr>
            <p:cNvPr id="16" name="Freeform 800">
              <a:extLst>
                <a:ext uri="{FF2B5EF4-FFF2-40B4-BE49-F238E27FC236}">
                  <a16:creationId xmlns:a16="http://schemas.microsoft.com/office/drawing/2014/main" id="{79271F75-F092-4D2D-8D3F-D967111BE5A3}"/>
                </a:ext>
              </a:extLst>
            </p:cNvPr>
            <p:cNvSpPr>
              <a:spLocks noEditPoints="1"/>
            </p:cNvSpPr>
            <p:nvPr/>
          </p:nvSpPr>
          <p:spPr bwMode="auto">
            <a:xfrm>
              <a:off x="5977418" y="3317490"/>
              <a:ext cx="123950" cy="308788"/>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endParaRPr lang="en-GB" dirty="0">
                <a:solidFill>
                  <a:prstClr val="black"/>
                </a:solidFill>
                <a:latin typeface="Verdana"/>
              </a:endParaRPr>
            </a:p>
          </p:txBody>
        </p:sp>
        <p:sp>
          <p:nvSpPr>
            <p:cNvPr id="17" name="Freeform 801">
              <a:extLst>
                <a:ext uri="{FF2B5EF4-FFF2-40B4-BE49-F238E27FC236}">
                  <a16:creationId xmlns:a16="http://schemas.microsoft.com/office/drawing/2014/main" id="{F82AB76B-F090-40A5-8545-06D5B4E64FE4}"/>
                </a:ext>
              </a:extLst>
            </p:cNvPr>
            <p:cNvSpPr>
              <a:spLocks noEditPoints="1"/>
            </p:cNvSpPr>
            <p:nvPr/>
          </p:nvSpPr>
          <p:spPr bwMode="auto">
            <a:xfrm>
              <a:off x="5992640" y="3195714"/>
              <a:ext cx="93506" cy="9133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endParaRPr lang="en-GB" dirty="0">
                <a:solidFill>
                  <a:prstClr val="black"/>
                </a:solidFill>
                <a:latin typeface="Verdana"/>
              </a:endParaRPr>
            </a:p>
          </p:txBody>
        </p:sp>
      </p:grpSp>
      <p:sp>
        <p:nvSpPr>
          <p:cNvPr id="18" name="ZoneTexte 16">
            <a:extLst>
              <a:ext uri="{FF2B5EF4-FFF2-40B4-BE49-F238E27FC236}">
                <a16:creationId xmlns:a16="http://schemas.microsoft.com/office/drawing/2014/main" id="{97124308-0DF0-4248-B405-B563ED8825B7}"/>
              </a:ext>
            </a:extLst>
          </p:cNvPr>
          <p:cNvSpPr txBox="1"/>
          <p:nvPr/>
        </p:nvSpPr>
        <p:spPr>
          <a:xfrm>
            <a:off x="5612506" y="3600589"/>
            <a:ext cx="1192629" cy="286501"/>
          </a:xfrm>
          <a:prstGeom prst="rect">
            <a:avLst/>
          </a:prstGeom>
          <a:noFill/>
        </p:spPr>
        <p:txBody>
          <a:bodyPr wrap="square" rtlCol="0">
            <a:spAutoFit/>
          </a:bodyPr>
          <a:lstStyle/>
          <a:p>
            <a:r>
              <a:rPr lang="en-US" sz="1200" dirty="0" err="1">
                <a:solidFill>
                  <a:schemeClr val="accent5"/>
                </a:solidFill>
              </a:rPr>
              <a:t>employés</a:t>
            </a:r>
            <a:endParaRPr lang="en-US" sz="1200" dirty="0">
              <a:solidFill>
                <a:schemeClr val="accent5"/>
              </a:solidFill>
            </a:endParaRPr>
          </a:p>
        </p:txBody>
      </p:sp>
      <p:sp>
        <p:nvSpPr>
          <p:cNvPr id="19" name="ZoneTexte 17">
            <a:extLst>
              <a:ext uri="{FF2B5EF4-FFF2-40B4-BE49-F238E27FC236}">
                <a16:creationId xmlns:a16="http://schemas.microsoft.com/office/drawing/2014/main" id="{C4058DFB-D64F-4FCF-8C12-2644422F54A9}"/>
              </a:ext>
            </a:extLst>
          </p:cNvPr>
          <p:cNvSpPr txBox="1"/>
          <p:nvPr/>
        </p:nvSpPr>
        <p:spPr>
          <a:xfrm>
            <a:off x="6056166" y="3365667"/>
            <a:ext cx="990600" cy="307777"/>
          </a:xfrm>
          <a:prstGeom prst="rect">
            <a:avLst/>
          </a:prstGeom>
          <a:noFill/>
        </p:spPr>
        <p:txBody>
          <a:bodyPr wrap="square" rtlCol="0">
            <a:spAutoFit/>
          </a:bodyPr>
          <a:lstStyle/>
          <a:p>
            <a:r>
              <a:rPr lang="fr-FR" sz="1400" b="1" dirty="0">
                <a:solidFill>
                  <a:schemeClr val="accent5"/>
                </a:solidFill>
              </a:rPr>
              <a:t>7 000</a:t>
            </a:r>
          </a:p>
        </p:txBody>
      </p:sp>
      <p:sp>
        <p:nvSpPr>
          <p:cNvPr id="20" name="ZoneTexte 19">
            <a:extLst>
              <a:ext uri="{FF2B5EF4-FFF2-40B4-BE49-F238E27FC236}">
                <a16:creationId xmlns:a16="http://schemas.microsoft.com/office/drawing/2014/main" id="{B750F79D-80F0-45CA-BEB7-78E7C4B0D57D}"/>
              </a:ext>
            </a:extLst>
          </p:cNvPr>
          <p:cNvSpPr txBox="1"/>
          <p:nvPr/>
        </p:nvSpPr>
        <p:spPr>
          <a:xfrm>
            <a:off x="5129352" y="1796469"/>
            <a:ext cx="663227" cy="492443"/>
          </a:xfrm>
          <a:prstGeom prst="rect">
            <a:avLst/>
          </a:prstGeom>
          <a:noFill/>
        </p:spPr>
        <p:txBody>
          <a:bodyPr wrap="square" rtlCol="0">
            <a:spAutoFit/>
          </a:bodyPr>
          <a:lstStyle/>
          <a:p>
            <a:r>
              <a:rPr lang="en-US" sz="1400" b="1" dirty="0">
                <a:solidFill>
                  <a:schemeClr val="accent5"/>
                </a:solidFill>
              </a:rPr>
              <a:t>21</a:t>
            </a:r>
          </a:p>
          <a:p>
            <a:r>
              <a:rPr lang="fr-FR" sz="1200" dirty="0">
                <a:solidFill>
                  <a:schemeClr val="accent5"/>
                </a:solidFill>
              </a:rPr>
              <a:t>villes</a:t>
            </a:r>
            <a:endParaRPr lang="en-US" sz="1400" b="1" dirty="0">
              <a:solidFill>
                <a:schemeClr val="accent5"/>
              </a:solidFill>
            </a:endParaRPr>
          </a:p>
        </p:txBody>
      </p:sp>
      <p:grpSp>
        <p:nvGrpSpPr>
          <p:cNvPr id="21" name="Groupe 168">
            <a:extLst>
              <a:ext uri="{FF2B5EF4-FFF2-40B4-BE49-F238E27FC236}">
                <a16:creationId xmlns:a16="http://schemas.microsoft.com/office/drawing/2014/main" id="{7C37F390-4380-457D-ACF7-A9F19842DF4F}"/>
              </a:ext>
            </a:extLst>
          </p:cNvPr>
          <p:cNvGrpSpPr/>
          <p:nvPr/>
        </p:nvGrpSpPr>
        <p:grpSpPr>
          <a:xfrm>
            <a:off x="4805604" y="1810313"/>
            <a:ext cx="336814" cy="457722"/>
            <a:chOff x="4805604" y="1810313"/>
            <a:chExt cx="336814" cy="457722"/>
          </a:xfrm>
          <a:solidFill>
            <a:schemeClr val="accent5"/>
          </a:solidFill>
        </p:grpSpPr>
        <p:sp>
          <p:nvSpPr>
            <p:cNvPr id="22" name="Freeform 978">
              <a:extLst>
                <a:ext uri="{FF2B5EF4-FFF2-40B4-BE49-F238E27FC236}">
                  <a16:creationId xmlns:a16="http://schemas.microsoft.com/office/drawing/2014/main" id="{B2EFC61F-C796-4AD7-97B6-81C44DC0AF38}"/>
                </a:ext>
              </a:extLst>
            </p:cNvPr>
            <p:cNvSpPr>
              <a:spLocks noEditPoints="1"/>
            </p:cNvSpPr>
            <p:nvPr/>
          </p:nvSpPr>
          <p:spPr bwMode="auto">
            <a:xfrm>
              <a:off x="4805604" y="1810313"/>
              <a:ext cx="336814" cy="45772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endParaRPr lang="en-GB">
                <a:solidFill>
                  <a:schemeClr val="accent5"/>
                </a:solidFill>
                <a:latin typeface="Verdana"/>
              </a:endParaRPr>
            </a:p>
          </p:txBody>
        </p:sp>
        <p:sp>
          <p:nvSpPr>
            <p:cNvPr id="23" name="Freeform 979">
              <a:extLst>
                <a:ext uri="{FF2B5EF4-FFF2-40B4-BE49-F238E27FC236}">
                  <a16:creationId xmlns:a16="http://schemas.microsoft.com/office/drawing/2014/main" id="{0E279274-02B6-4AAE-8839-DBA1EC072012}"/>
                </a:ext>
              </a:extLst>
            </p:cNvPr>
            <p:cNvSpPr>
              <a:spLocks noEditPoints="1"/>
            </p:cNvSpPr>
            <p:nvPr/>
          </p:nvSpPr>
          <p:spPr bwMode="auto">
            <a:xfrm>
              <a:off x="4896285" y="1900994"/>
              <a:ext cx="153294" cy="153294"/>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endParaRPr lang="en-GB">
                <a:solidFill>
                  <a:schemeClr val="accent5"/>
                </a:solidFill>
                <a:latin typeface="Verdana"/>
              </a:endParaRPr>
            </a:p>
          </p:txBody>
        </p:sp>
      </p:grpSp>
      <p:sp>
        <p:nvSpPr>
          <p:cNvPr id="24" name="Freeform 915">
            <a:extLst>
              <a:ext uri="{FF2B5EF4-FFF2-40B4-BE49-F238E27FC236}">
                <a16:creationId xmlns:a16="http://schemas.microsoft.com/office/drawing/2014/main" id="{254FA2FE-837C-40E5-B39B-78374B8429D3}"/>
              </a:ext>
            </a:extLst>
          </p:cNvPr>
          <p:cNvSpPr>
            <a:spLocks noEditPoints="1"/>
          </p:cNvSpPr>
          <p:nvPr/>
        </p:nvSpPr>
        <p:spPr bwMode="auto">
          <a:xfrm>
            <a:off x="3594799" y="3257844"/>
            <a:ext cx="367041" cy="449085"/>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endParaRPr lang="en-GB">
              <a:solidFill>
                <a:prstClr val="black"/>
              </a:solidFill>
              <a:latin typeface="Verdana"/>
            </a:endParaRPr>
          </a:p>
        </p:txBody>
      </p:sp>
      <p:sp>
        <p:nvSpPr>
          <p:cNvPr id="25" name="ZoneTexte 23">
            <a:extLst>
              <a:ext uri="{FF2B5EF4-FFF2-40B4-BE49-F238E27FC236}">
                <a16:creationId xmlns:a16="http://schemas.microsoft.com/office/drawing/2014/main" id="{6294BDFF-9C42-4A4F-BC5C-5B4DC76B1E88}"/>
              </a:ext>
            </a:extLst>
          </p:cNvPr>
          <p:cNvSpPr txBox="1"/>
          <p:nvPr/>
        </p:nvSpPr>
        <p:spPr>
          <a:xfrm>
            <a:off x="2705498" y="3675723"/>
            <a:ext cx="1192629" cy="492443"/>
          </a:xfrm>
          <a:prstGeom prst="rect">
            <a:avLst/>
          </a:prstGeom>
          <a:noFill/>
        </p:spPr>
        <p:txBody>
          <a:bodyPr wrap="square" rtlCol="0">
            <a:spAutoFit/>
          </a:bodyPr>
          <a:lstStyle/>
          <a:p>
            <a:r>
              <a:rPr lang="fr-FR" sz="1400" b="1" dirty="0">
                <a:solidFill>
                  <a:schemeClr val="accent5"/>
                </a:solidFill>
              </a:rPr>
              <a:t>1,7 milliard €</a:t>
            </a:r>
          </a:p>
          <a:p>
            <a:r>
              <a:rPr lang="fr-FR" sz="1200" dirty="0">
                <a:solidFill>
                  <a:schemeClr val="accent5"/>
                </a:solidFill>
              </a:rPr>
              <a:t>En 2020</a:t>
            </a:r>
          </a:p>
        </p:txBody>
      </p:sp>
      <p:sp>
        <p:nvSpPr>
          <p:cNvPr id="26" name="Rectangle 25">
            <a:extLst>
              <a:ext uri="{FF2B5EF4-FFF2-40B4-BE49-F238E27FC236}">
                <a16:creationId xmlns:a16="http://schemas.microsoft.com/office/drawing/2014/main" id="{15D55026-0372-4391-B6EC-534C0AC56F5C}"/>
              </a:ext>
            </a:extLst>
          </p:cNvPr>
          <p:cNvSpPr/>
          <p:nvPr/>
        </p:nvSpPr>
        <p:spPr>
          <a:xfrm>
            <a:off x="7274438" y="1864316"/>
            <a:ext cx="4511916" cy="1239918"/>
          </a:xfrm>
          <a:prstGeom prst="rect">
            <a:avLst/>
          </a:prstGeom>
          <a:no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ZoneTexte 20">
            <a:extLst>
              <a:ext uri="{FF2B5EF4-FFF2-40B4-BE49-F238E27FC236}">
                <a16:creationId xmlns:a16="http://schemas.microsoft.com/office/drawing/2014/main" id="{A02833A0-8968-41F6-9B84-3DBDE977BF45}"/>
              </a:ext>
            </a:extLst>
          </p:cNvPr>
          <p:cNvSpPr txBox="1"/>
          <p:nvPr/>
        </p:nvSpPr>
        <p:spPr>
          <a:xfrm>
            <a:off x="8798544" y="4347921"/>
            <a:ext cx="1980000" cy="261610"/>
          </a:xfrm>
          <a:prstGeom prst="rect">
            <a:avLst/>
          </a:prstGeom>
          <a:noFill/>
        </p:spPr>
        <p:txBody>
          <a:bodyPr wrap="square" lIns="0" rtlCol="0">
            <a:spAutoFit/>
          </a:bodyPr>
          <a:lstStyle/>
          <a:p>
            <a:r>
              <a:rPr lang="en-US" sz="1100" dirty="0" err="1">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Sécurité</a:t>
            </a:r>
            <a:r>
              <a:rPr lang="en-US" sz="1100" dirty="0">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 du cloud</a:t>
            </a:r>
            <a:endParaRPr lang="en-US" sz="1100" dirty="0">
              <a:solidFill>
                <a:schemeClr val="tx1">
                  <a:lumMod val="75000"/>
                  <a:lumOff val="25000"/>
                </a:schemeClr>
              </a:solidFill>
              <a:latin typeface="Segoe UI Symbol" panose="020B0502040204020203" pitchFamily="34" charset="0"/>
              <a:ea typeface="Segoe UI Symbol" panose="020B0502040204020203" pitchFamily="34" charset="0"/>
            </a:endParaRPr>
          </a:p>
        </p:txBody>
      </p:sp>
      <p:sp>
        <p:nvSpPr>
          <p:cNvPr id="28" name="ZoneTexte 41">
            <a:extLst>
              <a:ext uri="{FF2B5EF4-FFF2-40B4-BE49-F238E27FC236}">
                <a16:creationId xmlns:a16="http://schemas.microsoft.com/office/drawing/2014/main" id="{90D69235-4C69-4349-8861-3731378D4816}"/>
              </a:ext>
            </a:extLst>
          </p:cNvPr>
          <p:cNvSpPr txBox="1"/>
          <p:nvPr/>
        </p:nvSpPr>
        <p:spPr>
          <a:xfrm>
            <a:off x="8030925" y="3490393"/>
            <a:ext cx="2159131" cy="261610"/>
          </a:xfrm>
          <a:prstGeom prst="rect">
            <a:avLst/>
          </a:prstGeom>
          <a:noFill/>
        </p:spPr>
        <p:txBody>
          <a:bodyPr wrap="square" lIns="0" rtlCol="0">
            <a:spAutoFit/>
          </a:bodyPr>
          <a:lstStyle/>
          <a:p>
            <a:r>
              <a:rPr lang="en-US" sz="1100" dirty="0" err="1">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Détection</a:t>
            </a:r>
            <a:r>
              <a:rPr lang="en-US" sz="1100" dirty="0">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 et </a:t>
            </a:r>
            <a:r>
              <a:rPr lang="en-US" sz="1100" dirty="0" err="1">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réponse</a:t>
            </a:r>
            <a:endParaRPr lang="en-US" sz="1100" dirty="0">
              <a:solidFill>
                <a:schemeClr val="tx1">
                  <a:lumMod val="75000"/>
                  <a:lumOff val="25000"/>
                </a:schemeClr>
              </a:solidFill>
              <a:latin typeface="Segoe UI Symbol" panose="020B0502040204020203" pitchFamily="34" charset="0"/>
              <a:ea typeface="Segoe UI Symbol" panose="020B0502040204020203" pitchFamily="34" charset="0"/>
            </a:endParaRPr>
          </a:p>
        </p:txBody>
      </p:sp>
      <p:sp>
        <p:nvSpPr>
          <p:cNvPr id="29" name="ZoneTexte 42">
            <a:extLst>
              <a:ext uri="{FF2B5EF4-FFF2-40B4-BE49-F238E27FC236}">
                <a16:creationId xmlns:a16="http://schemas.microsoft.com/office/drawing/2014/main" id="{77E72813-B17F-43D6-952C-2A34110B8D3D}"/>
              </a:ext>
            </a:extLst>
          </p:cNvPr>
          <p:cNvSpPr txBox="1"/>
          <p:nvPr/>
        </p:nvSpPr>
        <p:spPr>
          <a:xfrm>
            <a:off x="8046609" y="6491741"/>
            <a:ext cx="2260843" cy="261610"/>
          </a:xfrm>
          <a:prstGeom prst="rect">
            <a:avLst/>
          </a:prstGeom>
          <a:noFill/>
        </p:spPr>
        <p:txBody>
          <a:bodyPr wrap="square" lIns="0" rtlCol="0">
            <a:spAutoFit/>
          </a:bodyPr>
          <a:lstStyle/>
          <a:p>
            <a:r>
              <a:rPr lang="fr-FR" sz="1100" dirty="0">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Sécurité des infrastructures</a:t>
            </a:r>
            <a:endParaRPr lang="fr-FR" sz="1100" dirty="0">
              <a:solidFill>
                <a:schemeClr val="tx1">
                  <a:lumMod val="75000"/>
                  <a:lumOff val="25000"/>
                </a:schemeClr>
              </a:solidFill>
              <a:latin typeface="Segoe UI Symbol" panose="020B0502040204020203" pitchFamily="34" charset="0"/>
              <a:ea typeface="Segoe UI Symbol" panose="020B0502040204020203" pitchFamily="34" charset="0"/>
            </a:endParaRPr>
          </a:p>
        </p:txBody>
      </p:sp>
      <p:sp>
        <p:nvSpPr>
          <p:cNvPr id="30" name="ZoneTexte 46">
            <a:extLst>
              <a:ext uri="{FF2B5EF4-FFF2-40B4-BE49-F238E27FC236}">
                <a16:creationId xmlns:a16="http://schemas.microsoft.com/office/drawing/2014/main" id="{1A982307-69E5-470E-B587-A3341C5C5E0E}"/>
              </a:ext>
            </a:extLst>
          </p:cNvPr>
          <p:cNvSpPr txBox="1"/>
          <p:nvPr/>
        </p:nvSpPr>
        <p:spPr>
          <a:xfrm>
            <a:off x="8479640" y="3919157"/>
            <a:ext cx="2556000" cy="261610"/>
          </a:xfrm>
          <a:prstGeom prst="rect">
            <a:avLst/>
          </a:prstGeom>
          <a:noFill/>
        </p:spPr>
        <p:txBody>
          <a:bodyPr wrap="square" lIns="0" rtlCol="0">
            <a:spAutoFit/>
          </a:bodyPr>
          <a:lstStyle/>
          <a:p>
            <a:r>
              <a:rPr lang="en-US" sz="1100" dirty="0" err="1">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Sécurité</a:t>
            </a:r>
            <a:r>
              <a:rPr lang="en-US" sz="1100" dirty="0">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 des applications</a:t>
            </a:r>
            <a:endParaRPr lang="en-US" sz="1100" dirty="0">
              <a:solidFill>
                <a:schemeClr val="tx1">
                  <a:lumMod val="75000"/>
                  <a:lumOff val="25000"/>
                </a:schemeClr>
              </a:solidFill>
              <a:latin typeface="Segoe UI Symbol" panose="020B0502040204020203" pitchFamily="34" charset="0"/>
              <a:ea typeface="Segoe UI Symbol" panose="020B0502040204020203" pitchFamily="34" charset="0"/>
            </a:endParaRPr>
          </a:p>
        </p:txBody>
      </p:sp>
      <p:sp>
        <p:nvSpPr>
          <p:cNvPr id="31" name="Lune 3">
            <a:extLst>
              <a:ext uri="{FF2B5EF4-FFF2-40B4-BE49-F238E27FC236}">
                <a16:creationId xmlns:a16="http://schemas.microsoft.com/office/drawing/2014/main" id="{D99D2F82-38E4-4938-AF3B-EA60D4E4AF3B}"/>
              </a:ext>
            </a:extLst>
          </p:cNvPr>
          <p:cNvSpPr/>
          <p:nvPr/>
        </p:nvSpPr>
        <p:spPr>
          <a:xfrm rot="10800000">
            <a:off x="7278213" y="3391267"/>
            <a:ext cx="924815" cy="3364203"/>
          </a:xfrm>
          <a:prstGeom prst="moon">
            <a:avLst>
              <a:gd name="adj" fmla="val 5102"/>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Tahoma"/>
              <a:ea typeface="+mn-ea"/>
              <a:cs typeface="+mn-cs"/>
            </a:endParaRPr>
          </a:p>
        </p:txBody>
      </p:sp>
      <p:sp>
        <p:nvSpPr>
          <p:cNvPr id="32" name="ZoneTexte 20">
            <a:extLst>
              <a:ext uri="{FF2B5EF4-FFF2-40B4-BE49-F238E27FC236}">
                <a16:creationId xmlns:a16="http://schemas.microsoft.com/office/drawing/2014/main" id="{81F4C0EF-E018-4814-AB13-689FD44E2581}"/>
              </a:ext>
            </a:extLst>
          </p:cNvPr>
          <p:cNvSpPr txBox="1"/>
          <p:nvPr/>
        </p:nvSpPr>
        <p:spPr>
          <a:xfrm>
            <a:off x="9014579" y="4776685"/>
            <a:ext cx="1980000" cy="261610"/>
          </a:xfrm>
          <a:prstGeom prst="rect">
            <a:avLst/>
          </a:prstGeom>
          <a:noFill/>
        </p:spPr>
        <p:txBody>
          <a:bodyPr wrap="square" lIns="0" rtlCol="0">
            <a:spAutoFit/>
          </a:bodyPr>
          <a:lstStyle/>
          <a:p>
            <a:r>
              <a:rPr lang="fr-FR" sz="1100" b="1" dirty="0">
                <a:solidFill>
                  <a:schemeClr val="accent6"/>
                </a:solidFill>
                <a:latin typeface="Segoe UI Symbol" panose="020B0502040204020203" pitchFamily="34" charset="0"/>
                <a:ea typeface="Segoe UI Symbol" panose="020B0502040204020203" pitchFamily="34" charset="0"/>
                <a:cs typeface="Arial" panose="020B0604020202020204" pitchFamily="34" charset="0"/>
              </a:rPr>
              <a:t>Stratégie</a:t>
            </a:r>
            <a:endParaRPr lang="fr-FR" sz="1100" b="1" dirty="0">
              <a:solidFill>
                <a:schemeClr val="accent6"/>
              </a:solidFill>
              <a:latin typeface="Segoe UI Symbol" panose="020B0502040204020203" pitchFamily="34" charset="0"/>
              <a:ea typeface="Segoe UI Symbol" panose="020B0502040204020203" pitchFamily="34" charset="0"/>
            </a:endParaRPr>
          </a:p>
        </p:txBody>
      </p:sp>
      <p:sp>
        <p:nvSpPr>
          <p:cNvPr id="33" name="ZoneTexte 20">
            <a:extLst>
              <a:ext uri="{FF2B5EF4-FFF2-40B4-BE49-F238E27FC236}">
                <a16:creationId xmlns:a16="http://schemas.microsoft.com/office/drawing/2014/main" id="{06E2A653-BF64-4639-BC2A-C1F5BC160E23}"/>
              </a:ext>
            </a:extLst>
          </p:cNvPr>
          <p:cNvSpPr txBox="1"/>
          <p:nvPr/>
        </p:nvSpPr>
        <p:spPr>
          <a:xfrm>
            <a:off x="9014579" y="5205449"/>
            <a:ext cx="1980000" cy="261610"/>
          </a:xfrm>
          <a:prstGeom prst="rect">
            <a:avLst/>
          </a:prstGeom>
          <a:noFill/>
        </p:spPr>
        <p:txBody>
          <a:bodyPr wrap="square" lIns="0" rtlCol="0">
            <a:spAutoFit/>
          </a:bodyPr>
          <a:lstStyle/>
          <a:p>
            <a:r>
              <a:rPr lang="fr-FR" sz="1100" dirty="0">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Gestion des identités</a:t>
            </a:r>
            <a:endParaRPr lang="fr-FR" sz="1100" dirty="0">
              <a:solidFill>
                <a:schemeClr val="tx1">
                  <a:lumMod val="75000"/>
                  <a:lumOff val="25000"/>
                </a:schemeClr>
              </a:solidFill>
              <a:latin typeface="Segoe UI Symbol" panose="020B0502040204020203" pitchFamily="34" charset="0"/>
              <a:ea typeface="Segoe UI Symbol" panose="020B0502040204020203" pitchFamily="34" charset="0"/>
            </a:endParaRPr>
          </a:p>
        </p:txBody>
      </p:sp>
      <p:sp>
        <p:nvSpPr>
          <p:cNvPr id="34" name="TextBox 51">
            <a:extLst>
              <a:ext uri="{FF2B5EF4-FFF2-40B4-BE49-F238E27FC236}">
                <a16:creationId xmlns:a16="http://schemas.microsoft.com/office/drawing/2014/main" id="{F701F6BB-8F1C-4F26-B78C-64627AFD2A93}"/>
              </a:ext>
            </a:extLst>
          </p:cNvPr>
          <p:cNvSpPr txBox="1"/>
          <p:nvPr/>
        </p:nvSpPr>
        <p:spPr>
          <a:xfrm>
            <a:off x="7428740" y="2592688"/>
            <a:ext cx="1296000" cy="276999"/>
          </a:xfrm>
          <a:prstGeom prst="rect">
            <a:avLst/>
          </a:prstGeom>
          <a:solidFill>
            <a:schemeClr val="bg1"/>
          </a:solidFill>
        </p:spPr>
        <p:txBody>
          <a:bodyPr wrap="square" rtlCol="0">
            <a:spAutoFit/>
          </a:bodyPr>
          <a:lstStyle/>
          <a:p>
            <a:pPr algn="ctr"/>
            <a:r>
              <a:rPr lang="en-US" sz="1200" b="1" dirty="0">
                <a:solidFill>
                  <a:schemeClr val="tx1">
                    <a:lumMod val="75000"/>
                    <a:lumOff val="25000"/>
                  </a:schemeClr>
                </a:solidFill>
              </a:rPr>
              <a:t>Strategic risk</a:t>
            </a:r>
          </a:p>
        </p:txBody>
      </p:sp>
      <p:sp>
        <p:nvSpPr>
          <p:cNvPr id="35" name="TextBox 51">
            <a:extLst>
              <a:ext uri="{FF2B5EF4-FFF2-40B4-BE49-F238E27FC236}">
                <a16:creationId xmlns:a16="http://schemas.microsoft.com/office/drawing/2014/main" id="{8670B6BC-7912-4367-A5AD-32BF36CE9A59}"/>
              </a:ext>
            </a:extLst>
          </p:cNvPr>
          <p:cNvSpPr txBox="1"/>
          <p:nvPr/>
        </p:nvSpPr>
        <p:spPr>
          <a:xfrm>
            <a:off x="10307453" y="2545906"/>
            <a:ext cx="1296000" cy="276999"/>
          </a:xfrm>
          <a:prstGeom prst="rect">
            <a:avLst/>
          </a:prstGeom>
          <a:solidFill>
            <a:schemeClr val="bg1"/>
          </a:solidFill>
        </p:spPr>
        <p:txBody>
          <a:bodyPr wrap="square" rtlCol="0">
            <a:spAutoFit/>
          </a:bodyPr>
          <a:lstStyle/>
          <a:p>
            <a:pPr algn="ctr"/>
            <a:r>
              <a:rPr lang="en-US" sz="1200" b="1" dirty="0">
                <a:solidFill>
                  <a:schemeClr val="tx1">
                    <a:lumMod val="75000"/>
                    <a:lumOff val="25000"/>
                  </a:schemeClr>
                </a:solidFill>
              </a:rPr>
              <a:t>Regulatory risk</a:t>
            </a:r>
          </a:p>
        </p:txBody>
      </p:sp>
      <p:sp>
        <p:nvSpPr>
          <p:cNvPr id="36" name="TextBox 51">
            <a:extLst>
              <a:ext uri="{FF2B5EF4-FFF2-40B4-BE49-F238E27FC236}">
                <a16:creationId xmlns:a16="http://schemas.microsoft.com/office/drawing/2014/main" id="{4E716CF5-356E-400D-8D86-302CFBFF9728}"/>
              </a:ext>
            </a:extLst>
          </p:cNvPr>
          <p:cNvSpPr txBox="1"/>
          <p:nvPr/>
        </p:nvSpPr>
        <p:spPr>
          <a:xfrm>
            <a:off x="7419881" y="2093263"/>
            <a:ext cx="1296000" cy="276999"/>
          </a:xfrm>
          <a:prstGeom prst="rect">
            <a:avLst/>
          </a:prstGeom>
          <a:solidFill>
            <a:schemeClr val="bg1"/>
          </a:solidFill>
        </p:spPr>
        <p:txBody>
          <a:bodyPr wrap="square" rtlCol="0">
            <a:spAutoFit/>
          </a:bodyPr>
          <a:lstStyle/>
          <a:p>
            <a:pPr algn="ctr"/>
            <a:r>
              <a:rPr lang="en-US" sz="1200" b="1" dirty="0">
                <a:solidFill>
                  <a:schemeClr val="tx1">
                    <a:lumMod val="75000"/>
                    <a:lumOff val="25000"/>
                  </a:schemeClr>
                </a:solidFill>
              </a:rPr>
              <a:t>Financial risk</a:t>
            </a:r>
          </a:p>
        </p:txBody>
      </p:sp>
      <p:sp>
        <p:nvSpPr>
          <p:cNvPr id="37" name="TextBox 51">
            <a:extLst>
              <a:ext uri="{FF2B5EF4-FFF2-40B4-BE49-F238E27FC236}">
                <a16:creationId xmlns:a16="http://schemas.microsoft.com/office/drawing/2014/main" id="{7123EEE7-FB5C-4E14-AE8E-A8BA5CFE23A8}"/>
              </a:ext>
            </a:extLst>
          </p:cNvPr>
          <p:cNvSpPr txBox="1"/>
          <p:nvPr/>
        </p:nvSpPr>
        <p:spPr>
          <a:xfrm>
            <a:off x="10307453" y="2093263"/>
            <a:ext cx="1296000" cy="285581"/>
          </a:xfrm>
          <a:prstGeom prst="rect">
            <a:avLst/>
          </a:prstGeom>
          <a:solidFill>
            <a:schemeClr val="bg1"/>
          </a:solidFill>
        </p:spPr>
        <p:txBody>
          <a:bodyPr wrap="square" rtlCol="0">
            <a:spAutoFit/>
          </a:bodyPr>
          <a:lstStyle/>
          <a:p>
            <a:pPr algn="ctr"/>
            <a:r>
              <a:rPr lang="en-US" sz="1200" b="1" dirty="0">
                <a:solidFill>
                  <a:schemeClr val="tx1">
                    <a:lumMod val="75000"/>
                    <a:lumOff val="25000"/>
                  </a:schemeClr>
                </a:solidFill>
              </a:rPr>
              <a:t>Operational risk</a:t>
            </a:r>
          </a:p>
        </p:txBody>
      </p:sp>
      <p:sp>
        <p:nvSpPr>
          <p:cNvPr id="38" name="Rectangle 37">
            <a:extLst>
              <a:ext uri="{FF2B5EF4-FFF2-40B4-BE49-F238E27FC236}">
                <a16:creationId xmlns:a16="http://schemas.microsoft.com/office/drawing/2014/main" id="{E52FCD2D-B127-414B-8EDB-A6F57199340D}"/>
              </a:ext>
            </a:extLst>
          </p:cNvPr>
          <p:cNvSpPr/>
          <p:nvPr/>
        </p:nvSpPr>
        <p:spPr>
          <a:xfrm>
            <a:off x="7265199" y="3391267"/>
            <a:ext cx="4521155" cy="3362084"/>
          </a:xfrm>
          <a:prstGeom prst="rect">
            <a:avLst/>
          </a:prstGeom>
          <a:no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e 154">
            <a:extLst>
              <a:ext uri="{FF2B5EF4-FFF2-40B4-BE49-F238E27FC236}">
                <a16:creationId xmlns:a16="http://schemas.microsoft.com/office/drawing/2014/main" id="{0FCC70BC-09FB-4F48-9D36-B90E5DBE1C93}"/>
              </a:ext>
            </a:extLst>
          </p:cNvPr>
          <p:cNvGrpSpPr/>
          <p:nvPr/>
        </p:nvGrpSpPr>
        <p:grpSpPr>
          <a:xfrm>
            <a:off x="9186155" y="3091312"/>
            <a:ext cx="1082583" cy="352180"/>
            <a:chOff x="8932887" y="2938038"/>
            <a:chExt cx="1082583" cy="352180"/>
          </a:xfrm>
        </p:grpSpPr>
        <p:sp>
          <p:nvSpPr>
            <p:cNvPr id="40" name="TextBox 51">
              <a:extLst>
                <a:ext uri="{FF2B5EF4-FFF2-40B4-BE49-F238E27FC236}">
                  <a16:creationId xmlns:a16="http://schemas.microsoft.com/office/drawing/2014/main" id="{DAFB7641-E864-4EAF-BC43-A5627AA83B01}"/>
                </a:ext>
              </a:extLst>
            </p:cNvPr>
            <p:cNvSpPr txBox="1"/>
            <p:nvPr/>
          </p:nvSpPr>
          <p:spPr>
            <a:xfrm>
              <a:off x="8932887" y="2938038"/>
              <a:ext cx="1082583" cy="338554"/>
            </a:xfrm>
            <a:prstGeom prst="rect">
              <a:avLst/>
            </a:prstGeom>
            <a:solidFill>
              <a:schemeClr val="bg1"/>
            </a:solidFill>
          </p:spPr>
          <p:txBody>
            <a:bodyPr wrap="square" rtlCol="0">
              <a:spAutoFit/>
            </a:bodyPr>
            <a:lstStyle/>
            <a:p>
              <a:pPr algn="r"/>
              <a:r>
                <a:rPr lang="fr-FR" sz="1600" b="1" dirty="0">
                  <a:solidFill>
                    <a:srgbClr val="86BC25"/>
                  </a:solidFill>
                </a:rPr>
                <a:t>Cyber</a:t>
              </a:r>
            </a:p>
          </p:txBody>
        </p:sp>
        <p:sp>
          <p:nvSpPr>
            <p:cNvPr id="41" name="Freeform 859">
              <a:extLst>
                <a:ext uri="{FF2B5EF4-FFF2-40B4-BE49-F238E27FC236}">
                  <a16:creationId xmlns:a16="http://schemas.microsoft.com/office/drawing/2014/main" id="{B08898D0-D751-4F3D-8EE3-1B89ACC7986C}"/>
                </a:ext>
              </a:extLst>
            </p:cNvPr>
            <p:cNvSpPr>
              <a:spLocks noChangeAspect="1" noEditPoints="1"/>
            </p:cNvSpPr>
            <p:nvPr/>
          </p:nvSpPr>
          <p:spPr bwMode="auto">
            <a:xfrm>
              <a:off x="8949797" y="2944618"/>
              <a:ext cx="345600" cy="345600"/>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rgbClr val="86BC25"/>
            </a:solidFill>
            <a:ln>
              <a:noFill/>
            </a:ln>
          </p:spPr>
          <p:txBody>
            <a:bodyPr vert="horz" wrap="square" lIns="182880" tIns="91440" rIns="182880" bIns="91440" numCol="1" anchor="t" anchorCtr="0" compatLnSpc="1">
              <a:prstTxWarp prst="textNoShape">
                <a:avLst/>
              </a:prstTxWarp>
            </a:bodyPr>
            <a:lstStyle/>
            <a:p>
              <a:pPr defTabSz="1828800"/>
              <a:endParaRPr lang="en-GB">
                <a:solidFill>
                  <a:prstClr val="black"/>
                </a:solidFill>
                <a:latin typeface="Verdana"/>
              </a:endParaRPr>
            </a:p>
          </p:txBody>
        </p:sp>
      </p:grpSp>
      <p:pic>
        <p:nvPicPr>
          <p:cNvPr id="42" name="Picture 2" descr="Résultat de recherche d'images pour &quot;logo deloitte png&quot;">
            <a:extLst>
              <a:ext uri="{FF2B5EF4-FFF2-40B4-BE49-F238E27FC236}">
                <a16:creationId xmlns:a16="http://schemas.microsoft.com/office/drawing/2014/main" id="{578E68A0-BDDD-4B7A-890F-1F1E9D2B771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3223" t="21805" r="12778" b="20595"/>
          <a:stretch/>
        </p:blipFill>
        <p:spPr bwMode="auto">
          <a:xfrm>
            <a:off x="2673396" y="5306225"/>
            <a:ext cx="446745" cy="402071"/>
          </a:xfrm>
          <a:prstGeom prst="rect">
            <a:avLst/>
          </a:prstGeom>
          <a:noFill/>
          <a:extLst>
            <a:ext uri="{909E8E84-426E-40DD-AFC4-6F175D3DCCD1}">
              <a14:hiddenFill xmlns:a14="http://schemas.microsoft.com/office/drawing/2010/main">
                <a:solidFill>
                  <a:srgbClr val="FFFFFF"/>
                </a:solidFill>
              </a14:hiddenFill>
            </a:ext>
          </a:extLst>
        </p:spPr>
      </p:pic>
      <p:sp>
        <p:nvSpPr>
          <p:cNvPr id="43" name="ZoneTexte 27">
            <a:extLst>
              <a:ext uri="{FF2B5EF4-FFF2-40B4-BE49-F238E27FC236}">
                <a16:creationId xmlns:a16="http://schemas.microsoft.com/office/drawing/2014/main" id="{2CF214F5-AFE0-42BB-BAFE-9A6441324F92}"/>
              </a:ext>
            </a:extLst>
          </p:cNvPr>
          <p:cNvSpPr txBox="1"/>
          <p:nvPr/>
        </p:nvSpPr>
        <p:spPr>
          <a:xfrm>
            <a:off x="5985196" y="5751697"/>
            <a:ext cx="972000" cy="276999"/>
          </a:xfrm>
          <a:prstGeom prst="rect">
            <a:avLst/>
          </a:prstGeom>
          <a:noFill/>
        </p:spPr>
        <p:txBody>
          <a:bodyPr wrap="square" rtlCol="0">
            <a:spAutoFit/>
          </a:bodyPr>
          <a:lstStyle/>
          <a:p>
            <a:r>
              <a:rPr lang="fr-FR" sz="1200" dirty="0">
                <a:solidFill>
                  <a:schemeClr val="tx1">
                    <a:lumMod val="75000"/>
                    <a:lumOff val="25000"/>
                  </a:schemeClr>
                </a:solidFill>
              </a:rPr>
              <a:t>Consulting</a:t>
            </a:r>
          </a:p>
        </p:txBody>
      </p:sp>
      <p:sp>
        <p:nvSpPr>
          <p:cNvPr id="44" name="ZoneTexte 39">
            <a:extLst>
              <a:ext uri="{FF2B5EF4-FFF2-40B4-BE49-F238E27FC236}">
                <a16:creationId xmlns:a16="http://schemas.microsoft.com/office/drawing/2014/main" id="{4C2FF9BF-D50C-4B5B-8014-3D2A71099FDF}"/>
              </a:ext>
            </a:extLst>
          </p:cNvPr>
          <p:cNvSpPr txBox="1"/>
          <p:nvPr/>
        </p:nvSpPr>
        <p:spPr>
          <a:xfrm>
            <a:off x="3898398" y="4774677"/>
            <a:ext cx="1476000" cy="276999"/>
          </a:xfrm>
          <a:prstGeom prst="rect">
            <a:avLst/>
          </a:prstGeom>
          <a:noFill/>
        </p:spPr>
        <p:txBody>
          <a:bodyPr wrap="square" rtlCol="0">
            <a:spAutoFit/>
          </a:bodyPr>
          <a:lstStyle/>
          <a:p>
            <a:pPr algn="ctr"/>
            <a:r>
              <a:rPr lang="fr-FR" sz="1200" dirty="0">
                <a:solidFill>
                  <a:schemeClr val="tx1">
                    <a:lumMod val="75000"/>
                    <a:lumOff val="25000"/>
                  </a:schemeClr>
                </a:solidFill>
              </a:rPr>
              <a:t>Financial </a:t>
            </a:r>
            <a:r>
              <a:rPr lang="fr-FR" sz="1200" dirty="0" err="1">
                <a:solidFill>
                  <a:schemeClr val="tx1">
                    <a:lumMod val="75000"/>
                    <a:lumOff val="25000"/>
                  </a:schemeClr>
                </a:solidFill>
              </a:rPr>
              <a:t>advisory</a:t>
            </a:r>
            <a:endParaRPr lang="fr-FR" sz="1200" dirty="0">
              <a:solidFill>
                <a:schemeClr val="tx1">
                  <a:lumMod val="75000"/>
                  <a:lumOff val="25000"/>
                </a:schemeClr>
              </a:solidFill>
            </a:endParaRPr>
          </a:p>
        </p:txBody>
      </p:sp>
      <p:sp>
        <p:nvSpPr>
          <p:cNvPr id="45" name="Accolade ouvrante 40">
            <a:extLst>
              <a:ext uri="{FF2B5EF4-FFF2-40B4-BE49-F238E27FC236}">
                <a16:creationId xmlns:a16="http://schemas.microsoft.com/office/drawing/2014/main" id="{D93F3BC2-3EB9-4B16-85A7-4C631A9E9B26}"/>
              </a:ext>
            </a:extLst>
          </p:cNvPr>
          <p:cNvSpPr/>
          <p:nvPr/>
        </p:nvSpPr>
        <p:spPr>
          <a:xfrm>
            <a:off x="3100563" y="4581894"/>
            <a:ext cx="301328" cy="1947759"/>
          </a:xfrm>
          <a:prstGeom prst="leftBrace">
            <a:avLst>
              <a:gd name="adj1" fmla="val 43173"/>
              <a:gd name="adj2" fmla="val 50000"/>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fr-FR"/>
          </a:p>
        </p:txBody>
      </p:sp>
      <p:sp>
        <p:nvSpPr>
          <p:cNvPr id="46" name="ZoneTexte 42">
            <a:extLst>
              <a:ext uri="{FF2B5EF4-FFF2-40B4-BE49-F238E27FC236}">
                <a16:creationId xmlns:a16="http://schemas.microsoft.com/office/drawing/2014/main" id="{2A257659-9AD9-4314-BB05-20E473914F03}"/>
              </a:ext>
            </a:extLst>
          </p:cNvPr>
          <p:cNvSpPr txBox="1"/>
          <p:nvPr/>
        </p:nvSpPr>
        <p:spPr>
          <a:xfrm>
            <a:off x="5985196" y="5119989"/>
            <a:ext cx="576000" cy="276999"/>
          </a:xfrm>
          <a:prstGeom prst="rect">
            <a:avLst/>
          </a:prstGeom>
          <a:noFill/>
        </p:spPr>
        <p:txBody>
          <a:bodyPr wrap="square" rtlCol="0">
            <a:spAutoFit/>
          </a:bodyPr>
          <a:lstStyle/>
          <a:p>
            <a:r>
              <a:rPr lang="fr-FR" sz="1200" dirty="0">
                <a:solidFill>
                  <a:schemeClr val="tx1">
                    <a:lumMod val="75000"/>
                    <a:lumOff val="25000"/>
                  </a:schemeClr>
                </a:solidFill>
              </a:rPr>
              <a:t>Audit</a:t>
            </a:r>
          </a:p>
        </p:txBody>
      </p:sp>
      <p:sp>
        <p:nvSpPr>
          <p:cNvPr id="47" name="ZoneTexte 44">
            <a:extLst>
              <a:ext uri="{FF2B5EF4-FFF2-40B4-BE49-F238E27FC236}">
                <a16:creationId xmlns:a16="http://schemas.microsoft.com/office/drawing/2014/main" id="{C493E908-53EB-429D-AD6B-AF2A8B768FA9}"/>
              </a:ext>
            </a:extLst>
          </p:cNvPr>
          <p:cNvSpPr txBox="1"/>
          <p:nvPr/>
        </p:nvSpPr>
        <p:spPr>
          <a:xfrm>
            <a:off x="3916160" y="5414158"/>
            <a:ext cx="1152000" cy="276999"/>
          </a:xfrm>
          <a:prstGeom prst="rect">
            <a:avLst/>
          </a:prstGeom>
          <a:noFill/>
        </p:spPr>
        <p:txBody>
          <a:bodyPr wrap="square" rtlCol="0">
            <a:spAutoFit/>
          </a:bodyPr>
          <a:lstStyle/>
          <a:p>
            <a:r>
              <a:rPr lang="fr-FR" sz="1200" dirty="0">
                <a:solidFill>
                  <a:srgbClr val="86BC25"/>
                </a:solidFill>
              </a:rPr>
              <a:t>Risk </a:t>
            </a:r>
            <a:r>
              <a:rPr lang="fr-FR" sz="1200" dirty="0" err="1">
                <a:solidFill>
                  <a:srgbClr val="86BC25"/>
                </a:solidFill>
              </a:rPr>
              <a:t>advisory</a:t>
            </a:r>
            <a:endParaRPr lang="fr-FR" sz="1200" dirty="0">
              <a:solidFill>
                <a:srgbClr val="86BC25"/>
              </a:solidFill>
            </a:endParaRPr>
          </a:p>
        </p:txBody>
      </p:sp>
      <p:sp>
        <p:nvSpPr>
          <p:cNvPr id="48" name="ZoneTexte 92">
            <a:extLst>
              <a:ext uri="{FF2B5EF4-FFF2-40B4-BE49-F238E27FC236}">
                <a16:creationId xmlns:a16="http://schemas.microsoft.com/office/drawing/2014/main" id="{648F4A69-55DF-4C85-B1E2-FDBB56D4E570}"/>
              </a:ext>
            </a:extLst>
          </p:cNvPr>
          <p:cNvSpPr txBox="1"/>
          <p:nvPr/>
        </p:nvSpPr>
        <p:spPr>
          <a:xfrm>
            <a:off x="3917683" y="6030377"/>
            <a:ext cx="1008000" cy="276999"/>
          </a:xfrm>
          <a:prstGeom prst="rect">
            <a:avLst/>
          </a:prstGeom>
          <a:noFill/>
        </p:spPr>
        <p:txBody>
          <a:bodyPr wrap="square" rtlCol="0">
            <a:spAutoFit/>
          </a:bodyPr>
          <a:lstStyle/>
          <a:p>
            <a:r>
              <a:rPr lang="fr-FR" sz="1200" dirty="0" err="1">
                <a:solidFill>
                  <a:schemeClr val="tx1">
                    <a:lumMod val="75000"/>
                    <a:lumOff val="25000"/>
                  </a:schemeClr>
                </a:solidFill>
              </a:rPr>
              <a:t>Tax</a:t>
            </a:r>
            <a:r>
              <a:rPr lang="fr-FR" sz="1200" dirty="0">
                <a:solidFill>
                  <a:schemeClr val="tx1">
                    <a:lumMod val="75000"/>
                    <a:lumOff val="25000"/>
                  </a:schemeClr>
                </a:solidFill>
              </a:rPr>
              <a:t> &amp; Legal</a:t>
            </a:r>
          </a:p>
        </p:txBody>
      </p:sp>
      <p:grpSp>
        <p:nvGrpSpPr>
          <p:cNvPr id="49" name="Graphic 4">
            <a:extLst>
              <a:ext uri="{FF2B5EF4-FFF2-40B4-BE49-F238E27FC236}">
                <a16:creationId xmlns:a16="http://schemas.microsoft.com/office/drawing/2014/main" id="{FEE3475E-C13B-4880-973D-B0C9E650D7FA}"/>
              </a:ext>
            </a:extLst>
          </p:cNvPr>
          <p:cNvGrpSpPr/>
          <p:nvPr/>
        </p:nvGrpSpPr>
        <p:grpSpPr>
          <a:xfrm>
            <a:off x="3537369" y="4741565"/>
            <a:ext cx="361670" cy="361333"/>
            <a:chOff x="905454" y="918179"/>
            <a:chExt cx="361670" cy="361333"/>
          </a:xfrm>
          <a:solidFill>
            <a:schemeClr val="tx1">
              <a:lumMod val="65000"/>
              <a:lumOff val="35000"/>
            </a:schemeClr>
          </a:solidFill>
        </p:grpSpPr>
        <p:sp>
          <p:nvSpPr>
            <p:cNvPr id="50" name="Graphic 4">
              <a:extLst>
                <a:ext uri="{FF2B5EF4-FFF2-40B4-BE49-F238E27FC236}">
                  <a16:creationId xmlns:a16="http://schemas.microsoft.com/office/drawing/2014/main" id="{0658AADD-CC9C-4F1E-8257-7136C607EB34}"/>
                </a:ext>
              </a:extLst>
            </p:cNvPr>
            <p:cNvSpPr/>
            <p:nvPr/>
          </p:nvSpPr>
          <p:spPr>
            <a:xfrm>
              <a:off x="1106737" y="1072033"/>
              <a:ext cx="44729" cy="44687"/>
            </a:xfrm>
            <a:custGeom>
              <a:avLst/>
              <a:gdLst>
                <a:gd name="connsiteX0" fmla="*/ 22365 w 44729"/>
                <a:gd name="connsiteY0" fmla="*/ 44688 h 44687"/>
                <a:gd name="connsiteX1" fmla="*/ 44730 w 44729"/>
                <a:gd name="connsiteY1" fmla="*/ 22344 h 44687"/>
                <a:gd name="connsiteX2" fmla="*/ 22365 w 44729"/>
                <a:gd name="connsiteY2" fmla="*/ 0 h 44687"/>
                <a:gd name="connsiteX3" fmla="*/ 0 w 44729"/>
                <a:gd name="connsiteY3" fmla="*/ 22344 h 44687"/>
                <a:gd name="connsiteX4" fmla="*/ 22365 w 44729"/>
                <a:gd name="connsiteY4" fmla="*/ 44688 h 44687"/>
                <a:gd name="connsiteX5" fmla="*/ 23004 w 44729"/>
                <a:gd name="connsiteY5" fmla="*/ 15960 h 44687"/>
                <a:gd name="connsiteX6" fmla="*/ 23004 w 44729"/>
                <a:gd name="connsiteY6" fmla="*/ 15960 h 44687"/>
                <a:gd name="connsiteX7" fmla="*/ 29394 w 44729"/>
                <a:gd name="connsiteY7" fmla="*/ 22344 h 44687"/>
                <a:gd name="connsiteX8" fmla="*/ 23004 w 44729"/>
                <a:gd name="connsiteY8" fmla="*/ 28728 h 44687"/>
                <a:gd name="connsiteX9" fmla="*/ 16614 w 44729"/>
                <a:gd name="connsiteY9" fmla="*/ 22344 h 44687"/>
                <a:gd name="connsiteX10" fmla="*/ 23004 w 44729"/>
                <a:gd name="connsiteY10" fmla="*/ 1596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29" h="44687">
                  <a:moveTo>
                    <a:pt x="22365" y="44688"/>
                  </a:moveTo>
                  <a:cubicBezTo>
                    <a:pt x="34506" y="44688"/>
                    <a:pt x="44730" y="34473"/>
                    <a:pt x="44730" y="22344"/>
                  </a:cubicBezTo>
                  <a:cubicBezTo>
                    <a:pt x="44730" y="10214"/>
                    <a:pt x="34506" y="0"/>
                    <a:pt x="22365" y="0"/>
                  </a:cubicBezTo>
                  <a:cubicBezTo>
                    <a:pt x="10224" y="0"/>
                    <a:pt x="0" y="10214"/>
                    <a:pt x="0" y="22344"/>
                  </a:cubicBezTo>
                  <a:cubicBezTo>
                    <a:pt x="0" y="34473"/>
                    <a:pt x="10224" y="44688"/>
                    <a:pt x="22365" y="44688"/>
                  </a:cubicBezTo>
                  <a:close/>
                  <a:moveTo>
                    <a:pt x="23004" y="15960"/>
                  </a:moveTo>
                  <a:lnTo>
                    <a:pt x="23004" y="15960"/>
                  </a:lnTo>
                  <a:cubicBezTo>
                    <a:pt x="26838" y="15960"/>
                    <a:pt x="29394" y="18514"/>
                    <a:pt x="29394" y="22344"/>
                  </a:cubicBezTo>
                  <a:cubicBezTo>
                    <a:pt x="29394" y="26174"/>
                    <a:pt x="26838" y="28728"/>
                    <a:pt x="23004" y="28728"/>
                  </a:cubicBezTo>
                  <a:cubicBezTo>
                    <a:pt x="19170" y="28728"/>
                    <a:pt x="16614" y="26174"/>
                    <a:pt x="16614" y="22344"/>
                  </a:cubicBezTo>
                  <a:cubicBezTo>
                    <a:pt x="16614" y="18514"/>
                    <a:pt x="19170" y="15960"/>
                    <a:pt x="23004" y="15960"/>
                  </a:cubicBez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51" name="Graphic 4">
              <a:extLst>
                <a:ext uri="{FF2B5EF4-FFF2-40B4-BE49-F238E27FC236}">
                  <a16:creationId xmlns:a16="http://schemas.microsoft.com/office/drawing/2014/main" id="{EB0A610C-1B1D-436E-A98A-D4441B40069F}"/>
                </a:ext>
              </a:extLst>
            </p:cNvPr>
            <p:cNvSpPr/>
            <p:nvPr/>
          </p:nvSpPr>
          <p:spPr>
            <a:xfrm>
              <a:off x="992996" y="1029260"/>
              <a:ext cx="23003" cy="130233"/>
            </a:xfrm>
            <a:custGeom>
              <a:avLst/>
              <a:gdLst>
                <a:gd name="connsiteX0" fmla="*/ 23004 w 23003"/>
                <a:gd name="connsiteY0" fmla="*/ 114273 h 130233"/>
                <a:gd name="connsiteX1" fmla="*/ 22365 w 23003"/>
                <a:gd name="connsiteY1" fmla="*/ 114273 h 130233"/>
                <a:gd name="connsiteX2" fmla="*/ 15975 w 23003"/>
                <a:gd name="connsiteY2" fmla="*/ 107889 h 130233"/>
                <a:gd name="connsiteX3" fmla="*/ 22365 w 23003"/>
                <a:gd name="connsiteY3" fmla="*/ 101505 h 130233"/>
                <a:gd name="connsiteX4" fmla="*/ 23004 w 23003"/>
                <a:gd name="connsiteY4" fmla="*/ 101505 h 130233"/>
                <a:gd name="connsiteX5" fmla="*/ 23004 w 23003"/>
                <a:gd name="connsiteY5" fmla="*/ 28728 h 130233"/>
                <a:gd name="connsiteX6" fmla="*/ 22365 w 23003"/>
                <a:gd name="connsiteY6" fmla="*/ 28728 h 130233"/>
                <a:gd name="connsiteX7" fmla="*/ 15975 w 23003"/>
                <a:gd name="connsiteY7" fmla="*/ 22344 h 130233"/>
                <a:gd name="connsiteX8" fmla="*/ 22365 w 23003"/>
                <a:gd name="connsiteY8" fmla="*/ 15960 h 130233"/>
                <a:gd name="connsiteX9" fmla="*/ 23004 w 23003"/>
                <a:gd name="connsiteY9" fmla="*/ 15960 h 130233"/>
                <a:gd name="connsiteX10" fmla="*/ 23004 w 23003"/>
                <a:gd name="connsiteY10" fmla="*/ 0 h 130233"/>
                <a:gd name="connsiteX11" fmla="*/ 0 w 23003"/>
                <a:gd name="connsiteY11" fmla="*/ 0 h 130233"/>
                <a:gd name="connsiteX12" fmla="*/ 0 w 23003"/>
                <a:gd name="connsiteY12" fmla="*/ 130233 h 130233"/>
                <a:gd name="connsiteX13" fmla="*/ 23004 w 23003"/>
                <a:gd name="connsiteY13" fmla="*/ 130233 h 130233"/>
                <a:gd name="connsiteX14" fmla="*/ 23004 w 23003"/>
                <a:gd name="connsiteY14" fmla="*/ 114273 h 13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003" h="130233">
                  <a:moveTo>
                    <a:pt x="23004" y="114273"/>
                  </a:moveTo>
                  <a:lnTo>
                    <a:pt x="22365" y="114273"/>
                  </a:lnTo>
                  <a:cubicBezTo>
                    <a:pt x="18531" y="114273"/>
                    <a:pt x="15975" y="111720"/>
                    <a:pt x="15975" y="107889"/>
                  </a:cubicBezTo>
                  <a:cubicBezTo>
                    <a:pt x="15975" y="104059"/>
                    <a:pt x="18531" y="101505"/>
                    <a:pt x="22365" y="101505"/>
                  </a:cubicBezTo>
                  <a:lnTo>
                    <a:pt x="23004" y="101505"/>
                  </a:lnTo>
                  <a:lnTo>
                    <a:pt x="23004" y="28728"/>
                  </a:lnTo>
                  <a:lnTo>
                    <a:pt x="22365" y="28728"/>
                  </a:lnTo>
                  <a:cubicBezTo>
                    <a:pt x="18531" y="28728"/>
                    <a:pt x="15975" y="26174"/>
                    <a:pt x="15975" y="22344"/>
                  </a:cubicBezTo>
                  <a:cubicBezTo>
                    <a:pt x="15975" y="18514"/>
                    <a:pt x="18531" y="15960"/>
                    <a:pt x="22365" y="15960"/>
                  </a:cubicBezTo>
                  <a:lnTo>
                    <a:pt x="23004" y="15960"/>
                  </a:lnTo>
                  <a:lnTo>
                    <a:pt x="23004" y="0"/>
                  </a:lnTo>
                  <a:lnTo>
                    <a:pt x="0" y="0"/>
                  </a:lnTo>
                  <a:lnTo>
                    <a:pt x="0" y="130233"/>
                  </a:lnTo>
                  <a:lnTo>
                    <a:pt x="23004" y="130233"/>
                  </a:lnTo>
                  <a:lnTo>
                    <a:pt x="23004" y="114273"/>
                  </a:ln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52" name="Graphic 4">
              <a:extLst>
                <a:ext uri="{FF2B5EF4-FFF2-40B4-BE49-F238E27FC236}">
                  <a16:creationId xmlns:a16="http://schemas.microsoft.com/office/drawing/2014/main" id="{ACE3465F-86FF-40F3-ADEF-07FAC5EC4B3F}"/>
                </a:ext>
              </a:extLst>
            </p:cNvPr>
            <p:cNvSpPr/>
            <p:nvPr/>
          </p:nvSpPr>
          <p:spPr>
            <a:xfrm>
              <a:off x="1028779" y="1029260"/>
              <a:ext cx="151441" cy="130233"/>
            </a:xfrm>
            <a:custGeom>
              <a:avLst/>
              <a:gdLst>
                <a:gd name="connsiteX0" fmla="*/ 0 w 151441"/>
                <a:gd name="connsiteY0" fmla="*/ 15960 h 130233"/>
                <a:gd name="connsiteX1" fmla="*/ 639 w 151441"/>
                <a:gd name="connsiteY1" fmla="*/ 15960 h 130233"/>
                <a:gd name="connsiteX2" fmla="*/ 7029 w 151441"/>
                <a:gd name="connsiteY2" fmla="*/ 22344 h 130233"/>
                <a:gd name="connsiteX3" fmla="*/ 639 w 151441"/>
                <a:gd name="connsiteY3" fmla="*/ 28728 h 130233"/>
                <a:gd name="connsiteX4" fmla="*/ 0 w 151441"/>
                <a:gd name="connsiteY4" fmla="*/ 28728 h 130233"/>
                <a:gd name="connsiteX5" fmla="*/ 0 w 151441"/>
                <a:gd name="connsiteY5" fmla="*/ 101505 h 130233"/>
                <a:gd name="connsiteX6" fmla="*/ 639 w 151441"/>
                <a:gd name="connsiteY6" fmla="*/ 101505 h 130233"/>
                <a:gd name="connsiteX7" fmla="*/ 7029 w 151441"/>
                <a:gd name="connsiteY7" fmla="*/ 107889 h 130233"/>
                <a:gd name="connsiteX8" fmla="*/ 639 w 151441"/>
                <a:gd name="connsiteY8" fmla="*/ 114273 h 130233"/>
                <a:gd name="connsiteX9" fmla="*/ 0 w 151441"/>
                <a:gd name="connsiteY9" fmla="*/ 114273 h 130233"/>
                <a:gd name="connsiteX10" fmla="*/ 0 w 151441"/>
                <a:gd name="connsiteY10" fmla="*/ 130233 h 130233"/>
                <a:gd name="connsiteX11" fmla="*/ 151441 w 151441"/>
                <a:gd name="connsiteY11" fmla="*/ 130233 h 130233"/>
                <a:gd name="connsiteX12" fmla="*/ 151441 w 151441"/>
                <a:gd name="connsiteY12" fmla="*/ 0 h 130233"/>
                <a:gd name="connsiteX13" fmla="*/ 0 w 151441"/>
                <a:gd name="connsiteY13" fmla="*/ 0 h 130233"/>
                <a:gd name="connsiteX14" fmla="*/ 0 w 151441"/>
                <a:gd name="connsiteY14" fmla="*/ 15960 h 130233"/>
                <a:gd name="connsiteX15" fmla="*/ 100322 w 151441"/>
                <a:gd name="connsiteY15" fmla="*/ 30005 h 130233"/>
                <a:gd name="connsiteX16" fmla="*/ 135467 w 151441"/>
                <a:gd name="connsiteY16" fmla="*/ 65117 h 130233"/>
                <a:gd name="connsiteX17" fmla="*/ 100322 w 151441"/>
                <a:gd name="connsiteY17" fmla="*/ 100229 h 130233"/>
                <a:gd name="connsiteX18" fmla="*/ 65177 w 151441"/>
                <a:gd name="connsiteY18" fmla="*/ 65117 h 130233"/>
                <a:gd name="connsiteX19" fmla="*/ 100322 w 151441"/>
                <a:gd name="connsiteY19" fmla="*/ 30005 h 13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1441" h="130233">
                  <a:moveTo>
                    <a:pt x="0" y="15960"/>
                  </a:moveTo>
                  <a:lnTo>
                    <a:pt x="639" y="15960"/>
                  </a:lnTo>
                  <a:cubicBezTo>
                    <a:pt x="4473" y="15960"/>
                    <a:pt x="7029" y="18514"/>
                    <a:pt x="7029" y="22344"/>
                  </a:cubicBezTo>
                  <a:cubicBezTo>
                    <a:pt x="7029" y="26174"/>
                    <a:pt x="4473" y="28728"/>
                    <a:pt x="639" y="28728"/>
                  </a:cubicBezTo>
                  <a:lnTo>
                    <a:pt x="0" y="28728"/>
                  </a:lnTo>
                  <a:lnTo>
                    <a:pt x="0" y="101505"/>
                  </a:lnTo>
                  <a:lnTo>
                    <a:pt x="639" y="101505"/>
                  </a:lnTo>
                  <a:cubicBezTo>
                    <a:pt x="4473" y="101505"/>
                    <a:pt x="7029" y="104059"/>
                    <a:pt x="7029" y="107889"/>
                  </a:cubicBezTo>
                  <a:cubicBezTo>
                    <a:pt x="7029" y="111720"/>
                    <a:pt x="4473" y="114273"/>
                    <a:pt x="639" y="114273"/>
                  </a:cubicBezTo>
                  <a:lnTo>
                    <a:pt x="0" y="114273"/>
                  </a:lnTo>
                  <a:lnTo>
                    <a:pt x="0" y="130233"/>
                  </a:lnTo>
                  <a:lnTo>
                    <a:pt x="151441" y="130233"/>
                  </a:lnTo>
                  <a:lnTo>
                    <a:pt x="151441" y="0"/>
                  </a:lnTo>
                  <a:lnTo>
                    <a:pt x="0" y="0"/>
                  </a:lnTo>
                  <a:lnTo>
                    <a:pt x="0" y="15960"/>
                  </a:lnTo>
                  <a:close/>
                  <a:moveTo>
                    <a:pt x="100322" y="30005"/>
                  </a:moveTo>
                  <a:cubicBezTo>
                    <a:pt x="119492" y="30005"/>
                    <a:pt x="135467" y="45965"/>
                    <a:pt x="135467" y="65117"/>
                  </a:cubicBezTo>
                  <a:cubicBezTo>
                    <a:pt x="135467" y="84269"/>
                    <a:pt x="119492" y="100229"/>
                    <a:pt x="100322" y="100229"/>
                  </a:cubicBezTo>
                  <a:cubicBezTo>
                    <a:pt x="81152" y="100229"/>
                    <a:pt x="65177" y="84269"/>
                    <a:pt x="65177" y="65117"/>
                  </a:cubicBezTo>
                  <a:cubicBezTo>
                    <a:pt x="65177" y="45965"/>
                    <a:pt x="81152" y="30005"/>
                    <a:pt x="100322" y="30005"/>
                  </a:cubicBez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53" name="Graphic 4">
              <a:extLst>
                <a:ext uri="{FF2B5EF4-FFF2-40B4-BE49-F238E27FC236}">
                  <a16:creationId xmlns:a16="http://schemas.microsoft.com/office/drawing/2014/main" id="{62CD60E7-FED7-4520-8236-031173D5B789}"/>
                </a:ext>
              </a:extLst>
            </p:cNvPr>
            <p:cNvSpPr/>
            <p:nvPr/>
          </p:nvSpPr>
          <p:spPr>
            <a:xfrm>
              <a:off x="905454" y="918179"/>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87547 w 361670"/>
                <a:gd name="connsiteY5" fmla="*/ 247699 h 361333"/>
                <a:gd name="connsiteX6" fmla="*/ 281157 w 361670"/>
                <a:gd name="connsiteY6" fmla="*/ 254083 h 361333"/>
                <a:gd name="connsiteX7" fmla="*/ 258154 w 361670"/>
                <a:gd name="connsiteY7" fmla="*/ 254083 h 361333"/>
                <a:gd name="connsiteX8" fmla="*/ 258792 w 361670"/>
                <a:gd name="connsiteY8" fmla="*/ 257275 h 361333"/>
                <a:gd name="connsiteX9" fmla="*/ 252403 w 361670"/>
                <a:gd name="connsiteY9" fmla="*/ 263659 h 361333"/>
                <a:gd name="connsiteX10" fmla="*/ 223648 w 361670"/>
                <a:gd name="connsiteY10" fmla="*/ 263659 h 361333"/>
                <a:gd name="connsiteX11" fmla="*/ 217258 w 361670"/>
                <a:gd name="connsiteY11" fmla="*/ 257275 h 361333"/>
                <a:gd name="connsiteX12" fmla="*/ 217897 w 361670"/>
                <a:gd name="connsiteY12" fmla="*/ 254083 h 361333"/>
                <a:gd name="connsiteX13" fmla="*/ 143135 w 361670"/>
                <a:gd name="connsiteY13" fmla="*/ 254083 h 361333"/>
                <a:gd name="connsiteX14" fmla="*/ 143774 w 361670"/>
                <a:gd name="connsiteY14" fmla="*/ 257275 h 361333"/>
                <a:gd name="connsiteX15" fmla="*/ 137384 w 361670"/>
                <a:gd name="connsiteY15" fmla="*/ 263659 h 361333"/>
                <a:gd name="connsiteX16" fmla="*/ 108629 w 361670"/>
                <a:gd name="connsiteY16" fmla="*/ 263659 h 361333"/>
                <a:gd name="connsiteX17" fmla="*/ 102239 w 361670"/>
                <a:gd name="connsiteY17" fmla="*/ 257275 h 361333"/>
                <a:gd name="connsiteX18" fmla="*/ 102878 w 361670"/>
                <a:gd name="connsiteY18" fmla="*/ 254083 h 361333"/>
                <a:gd name="connsiteX19" fmla="*/ 79874 w 361670"/>
                <a:gd name="connsiteY19" fmla="*/ 254083 h 361333"/>
                <a:gd name="connsiteX20" fmla="*/ 73484 w 361670"/>
                <a:gd name="connsiteY20" fmla="*/ 247699 h 361333"/>
                <a:gd name="connsiteX21" fmla="*/ 73484 w 361670"/>
                <a:gd name="connsiteY21" fmla="*/ 104697 h 361333"/>
                <a:gd name="connsiteX22" fmla="*/ 79874 w 361670"/>
                <a:gd name="connsiteY22" fmla="*/ 98313 h 361333"/>
                <a:gd name="connsiteX23" fmla="*/ 279879 w 361670"/>
                <a:gd name="connsiteY23" fmla="*/ 98313 h 361333"/>
                <a:gd name="connsiteX24" fmla="*/ 286269 w 361670"/>
                <a:gd name="connsiteY24" fmla="*/ 104697 h 361333"/>
                <a:gd name="connsiteX25" fmla="*/ 286269 w 361670"/>
                <a:gd name="connsiteY25" fmla="*/ 24769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1157" y="0"/>
                    <a:pt x="180835" y="0"/>
                  </a:cubicBezTo>
                  <a:close/>
                  <a:moveTo>
                    <a:pt x="287547" y="247699"/>
                  </a:moveTo>
                  <a:cubicBezTo>
                    <a:pt x="287547" y="251529"/>
                    <a:pt x="284991" y="254083"/>
                    <a:pt x="281157" y="254083"/>
                  </a:cubicBezTo>
                  <a:lnTo>
                    <a:pt x="258154" y="254083"/>
                  </a:lnTo>
                  <a:cubicBezTo>
                    <a:pt x="258792" y="254721"/>
                    <a:pt x="258792" y="255998"/>
                    <a:pt x="258792" y="257275"/>
                  </a:cubicBezTo>
                  <a:cubicBezTo>
                    <a:pt x="258792" y="261105"/>
                    <a:pt x="256237" y="263659"/>
                    <a:pt x="252403" y="263659"/>
                  </a:cubicBezTo>
                  <a:lnTo>
                    <a:pt x="223648" y="263659"/>
                  </a:lnTo>
                  <a:cubicBezTo>
                    <a:pt x="219814" y="263659"/>
                    <a:pt x="217258" y="261105"/>
                    <a:pt x="217258" y="257275"/>
                  </a:cubicBezTo>
                  <a:cubicBezTo>
                    <a:pt x="217258" y="255998"/>
                    <a:pt x="217897" y="255359"/>
                    <a:pt x="217897" y="254083"/>
                  </a:cubicBezTo>
                  <a:lnTo>
                    <a:pt x="143135" y="254083"/>
                  </a:lnTo>
                  <a:cubicBezTo>
                    <a:pt x="143774" y="254721"/>
                    <a:pt x="143774" y="255998"/>
                    <a:pt x="143774" y="257275"/>
                  </a:cubicBezTo>
                  <a:cubicBezTo>
                    <a:pt x="143774" y="261105"/>
                    <a:pt x="141218" y="263659"/>
                    <a:pt x="137384" y="263659"/>
                  </a:cubicBezTo>
                  <a:lnTo>
                    <a:pt x="108629" y="263659"/>
                  </a:lnTo>
                  <a:cubicBezTo>
                    <a:pt x="104795" y="263659"/>
                    <a:pt x="102239" y="261105"/>
                    <a:pt x="102239" y="257275"/>
                  </a:cubicBezTo>
                  <a:cubicBezTo>
                    <a:pt x="102239" y="255998"/>
                    <a:pt x="102878" y="255359"/>
                    <a:pt x="102878" y="254083"/>
                  </a:cubicBezTo>
                  <a:lnTo>
                    <a:pt x="79874" y="254083"/>
                  </a:lnTo>
                  <a:cubicBezTo>
                    <a:pt x="76040" y="254083"/>
                    <a:pt x="73484" y="251529"/>
                    <a:pt x="73484" y="247699"/>
                  </a:cubicBezTo>
                  <a:lnTo>
                    <a:pt x="73484" y="104697"/>
                  </a:lnTo>
                  <a:cubicBezTo>
                    <a:pt x="73484" y="100867"/>
                    <a:pt x="76040" y="98313"/>
                    <a:pt x="79874" y="98313"/>
                  </a:cubicBezTo>
                  <a:lnTo>
                    <a:pt x="279879" y="98313"/>
                  </a:lnTo>
                  <a:cubicBezTo>
                    <a:pt x="283713" y="98313"/>
                    <a:pt x="286269" y="100867"/>
                    <a:pt x="286269" y="104697"/>
                  </a:cubicBezTo>
                  <a:lnTo>
                    <a:pt x="286269" y="247699"/>
                  </a:lnTo>
                  <a:close/>
                </a:path>
              </a:pathLst>
            </a:custGeom>
            <a:grpFill/>
            <a:ln w="6390" cap="flat">
              <a:noFill/>
              <a:prstDash val="solid"/>
              <a:miter/>
            </a:ln>
          </p:spPr>
          <p:txBody>
            <a:bodyPr rtlCol="0" anchor="ctr"/>
            <a:lstStyle/>
            <a:p>
              <a:endParaRPr lang="en-US" sz="1200">
                <a:solidFill>
                  <a:schemeClr val="bg1">
                    <a:lumMod val="75000"/>
                  </a:schemeClr>
                </a:solidFill>
              </a:endParaRPr>
            </a:p>
          </p:txBody>
        </p:sp>
      </p:grpSp>
      <p:grpSp>
        <p:nvGrpSpPr>
          <p:cNvPr id="54" name="Graphic 4">
            <a:extLst>
              <a:ext uri="{FF2B5EF4-FFF2-40B4-BE49-F238E27FC236}">
                <a16:creationId xmlns:a16="http://schemas.microsoft.com/office/drawing/2014/main" id="{8034DB0C-B11E-4F37-B21F-09318271EEFF}"/>
              </a:ext>
            </a:extLst>
          </p:cNvPr>
          <p:cNvGrpSpPr/>
          <p:nvPr/>
        </p:nvGrpSpPr>
        <p:grpSpPr>
          <a:xfrm>
            <a:off x="5587558" y="5093212"/>
            <a:ext cx="362309" cy="362610"/>
            <a:chOff x="905454" y="2371173"/>
            <a:chExt cx="362309" cy="362610"/>
          </a:xfrm>
          <a:solidFill>
            <a:schemeClr val="tx1">
              <a:lumMod val="65000"/>
              <a:lumOff val="35000"/>
            </a:schemeClr>
          </a:solidFill>
        </p:grpSpPr>
        <p:sp>
          <p:nvSpPr>
            <p:cNvPr id="55" name="Graphic 4">
              <a:extLst>
                <a:ext uri="{FF2B5EF4-FFF2-40B4-BE49-F238E27FC236}">
                  <a16:creationId xmlns:a16="http://schemas.microsoft.com/office/drawing/2014/main" id="{9FBD7308-951D-4911-958B-8F8C866CB312}"/>
                </a:ext>
              </a:extLst>
            </p:cNvPr>
            <p:cNvSpPr/>
            <p:nvPr/>
          </p:nvSpPr>
          <p:spPr>
            <a:xfrm>
              <a:off x="1115044" y="2465656"/>
              <a:ext cx="28754" cy="28727"/>
            </a:xfrm>
            <a:custGeom>
              <a:avLst/>
              <a:gdLst>
                <a:gd name="connsiteX0" fmla="*/ 0 w 28754"/>
                <a:gd name="connsiteY0" fmla="*/ 0 h 28727"/>
                <a:gd name="connsiteX1" fmla="*/ 0 w 28754"/>
                <a:gd name="connsiteY1" fmla="*/ 28728 h 28727"/>
                <a:gd name="connsiteX2" fmla="*/ 28755 w 28754"/>
                <a:gd name="connsiteY2" fmla="*/ 28728 h 28727"/>
              </a:gdLst>
              <a:ahLst/>
              <a:cxnLst>
                <a:cxn ang="0">
                  <a:pos x="connsiteX0" y="connsiteY0"/>
                </a:cxn>
                <a:cxn ang="0">
                  <a:pos x="connsiteX1" y="connsiteY1"/>
                </a:cxn>
                <a:cxn ang="0">
                  <a:pos x="connsiteX2" y="connsiteY2"/>
                </a:cxn>
              </a:cxnLst>
              <a:rect l="l" t="t" r="r" b="b"/>
              <a:pathLst>
                <a:path w="28754" h="28727">
                  <a:moveTo>
                    <a:pt x="0" y="0"/>
                  </a:moveTo>
                  <a:lnTo>
                    <a:pt x="0" y="28728"/>
                  </a:lnTo>
                  <a:lnTo>
                    <a:pt x="28755" y="28728"/>
                  </a:ln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56" name="Graphic 4">
              <a:extLst>
                <a:ext uri="{FF2B5EF4-FFF2-40B4-BE49-F238E27FC236}">
                  <a16:creationId xmlns:a16="http://schemas.microsoft.com/office/drawing/2014/main" id="{04E6CE0D-591E-4D5E-A250-785F484A3E31}"/>
                </a:ext>
              </a:extLst>
            </p:cNvPr>
            <p:cNvSpPr/>
            <p:nvPr/>
          </p:nvSpPr>
          <p:spPr>
            <a:xfrm>
              <a:off x="1020472" y="2456080"/>
              <a:ext cx="132910" cy="191519"/>
            </a:xfrm>
            <a:custGeom>
              <a:avLst/>
              <a:gdLst>
                <a:gd name="connsiteX0" fmla="*/ 88181 w 132910"/>
                <a:gd name="connsiteY0" fmla="*/ 51072 h 191519"/>
                <a:gd name="connsiteX1" fmla="*/ 81791 w 132910"/>
                <a:gd name="connsiteY1" fmla="*/ 44688 h 191519"/>
                <a:gd name="connsiteX2" fmla="*/ 81791 w 132910"/>
                <a:gd name="connsiteY2" fmla="*/ 0 h 191519"/>
                <a:gd name="connsiteX3" fmla="*/ 0 w 132910"/>
                <a:gd name="connsiteY3" fmla="*/ 0 h 191519"/>
                <a:gd name="connsiteX4" fmla="*/ 0 w 132910"/>
                <a:gd name="connsiteY4" fmla="*/ 191519 h 191519"/>
                <a:gd name="connsiteX5" fmla="*/ 132911 w 132910"/>
                <a:gd name="connsiteY5" fmla="*/ 191519 h 191519"/>
                <a:gd name="connsiteX6" fmla="*/ 132911 w 132910"/>
                <a:gd name="connsiteY6" fmla="*/ 51072 h 191519"/>
                <a:gd name="connsiteX7" fmla="*/ 88181 w 132910"/>
                <a:gd name="connsiteY7" fmla="*/ 51072 h 191519"/>
                <a:gd name="connsiteX8" fmla="*/ 109907 w 132910"/>
                <a:gd name="connsiteY8" fmla="*/ 174921 h 191519"/>
                <a:gd name="connsiteX9" fmla="*/ 22365 w 132910"/>
                <a:gd name="connsiteY9" fmla="*/ 174921 h 191519"/>
                <a:gd name="connsiteX10" fmla="*/ 15975 w 132910"/>
                <a:gd name="connsiteY10" fmla="*/ 168537 h 191519"/>
                <a:gd name="connsiteX11" fmla="*/ 22365 w 132910"/>
                <a:gd name="connsiteY11" fmla="*/ 162153 h 191519"/>
                <a:gd name="connsiteX12" fmla="*/ 109907 w 132910"/>
                <a:gd name="connsiteY12" fmla="*/ 162153 h 191519"/>
                <a:gd name="connsiteX13" fmla="*/ 116297 w 132910"/>
                <a:gd name="connsiteY13" fmla="*/ 168537 h 191519"/>
                <a:gd name="connsiteX14" fmla="*/ 109907 w 132910"/>
                <a:gd name="connsiteY14" fmla="*/ 174921 h 191519"/>
                <a:gd name="connsiteX15" fmla="*/ 109907 w 132910"/>
                <a:gd name="connsiteY15" fmla="*/ 146193 h 191519"/>
                <a:gd name="connsiteX16" fmla="*/ 22365 w 132910"/>
                <a:gd name="connsiteY16" fmla="*/ 146193 h 191519"/>
                <a:gd name="connsiteX17" fmla="*/ 15975 w 132910"/>
                <a:gd name="connsiteY17" fmla="*/ 139809 h 191519"/>
                <a:gd name="connsiteX18" fmla="*/ 22365 w 132910"/>
                <a:gd name="connsiteY18" fmla="*/ 133425 h 191519"/>
                <a:gd name="connsiteX19" fmla="*/ 109907 w 132910"/>
                <a:gd name="connsiteY19" fmla="*/ 133425 h 191519"/>
                <a:gd name="connsiteX20" fmla="*/ 116297 w 132910"/>
                <a:gd name="connsiteY20" fmla="*/ 139809 h 191519"/>
                <a:gd name="connsiteX21" fmla="*/ 109907 w 132910"/>
                <a:gd name="connsiteY21" fmla="*/ 146193 h 191519"/>
                <a:gd name="connsiteX22" fmla="*/ 109907 w 132910"/>
                <a:gd name="connsiteY22" fmla="*/ 116827 h 191519"/>
                <a:gd name="connsiteX23" fmla="*/ 22365 w 132910"/>
                <a:gd name="connsiteY23" fmla="*/ 116827 h 191519"/>
                <a:gd name="connsiteX24" fmla="*/ 15975 w 132910"/>
                <a:gd name="connsiteY24" fmla="*/ 110443 h 191519"/>
                <a:gd name="connsiteX25" fmla="*/ 22365 w 132910"/>
                <a:gd name="connsiteY25" fmla="*/ 104059 h 191519"/>
                <a:gd name="connsiteX26" fmla="*/ 109907 w 132910"/>
                <a:gd name="connsiteY26" fmla="*/ 104059 h 191519"/>
                <a:gd name="connsiteX27" fmla="*/ 116297 w 132910"/>
                <a:gd name="connsiteY27" fmla="*/ 110443 h 191519"/>
                <a:gd name="connsiteX28" fmla="*/ 109907 w 132910"/>
                <a:gd name="connsiteY28" fmla="*/ 116827 h 191519"/>
                <a:gd name="connsiteX29" fmla="*/ 109907 w 132910"/>
                <a:gd name="connsiteY29" fmla="*/ 88099 h 191519"/>
                <a:gd name="connsiteX30" fmla="*/ 22365 w 132910"/>
                <a:gd name="connsiteY30" fmla="*/ 88099 h 191519"/>
                <a:gd name="connsiteX31" fmla="*/ 15975 w 132910"/>
                <a:gd name="connsiteY31" fmla="*/ 81715 h 191519"/>
                <a:gd name="connsiteX32" fmla="*/ 22365 w 132910"/>
                <a:gd name="connsiteY32" fmla="*/ 75331 h 191519"/>
                <a:gd name="connsiteX33" fmla="*/ 109907 w 132910"/>
                <a:gd name="connsiteY33" fmla="*/ 75331 h 191519"/>
                <a:gd name="connsiteX34" fmla="*/ 116297 w 132910"/>
                <a:gd name="connsiteY34" fmla="*/ 81715 h 191519"/>
                <a:gd name="connsiteX35" fmla="*/ 109907 w 132910"/>
                <a:gd name="connsiteY35" fmla="*/ 88099 h 19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2910" h="191519">
                  <a:moveTo>
                    <a:pt x="88181" y="51072"/>
                  </a:moveTo>
                  <a:cubicBezTo>
                    <a:pt x="84347" y="51072"/>
                    <a:pt x="81791" y="48518"/>
                    <a:pt x="81791" y="44688"/>
                  </a:cubicBezTo>
                  <a:lnTo>
                    <a:pt x="81791" y="0"/>
                  </a:lnTo>
                  <a:lnTo>
                    <a:pt x="0" y="0"/>
                  </a:lnTo>
                  <a:lnTo>
                    <a:pt x="0" y="191519"/>
                  </a:lnTo>
                  <a:lnTo>
                    <a:pt x="132911" y="191519"/>
                  </a:lnTo>
                  <a:lnTo>
                    <a:pt x="132911" y="51072"/>
                  </a:lnTo>
                  <a:lnTo>
                    <a:pt x="88181" y="51072"/>
                  </a:lnTo>
                  <a:close/>
                  <a:moveTo>
                    <a:pt x="109907" y="174921"/>
                  </a:moveTo>
                  <a:lnTo>
                    <a:pt x="22365" y="174921"/>
                  </a:lnTo>
                  <a:cubicBezTo>
                    <a:pt x="18531" y="174921"/>
                    <a:pt x="15975" y="172368"/>
                    <a:pt x="15975" y="168537"/>
                  </a:cubicBezTo>
                  <a:cubicBezTo>
                    <a:pt x="15975" y="164707"/>
                    <a:pt x="18531" y="162153"/>
                    <a:pt x="22365" y="162153"/>
                  </a:cubicBezTo>
                  <a:lnTo>
                    <a:pt x="109907" y="162153"/>
                  </a:lnTo>
                  <a:cubicBezTo>
                    <a:pt x="113741" y="162153"/>
                    <a:pt x="116297" y="164707"/>
                    <a:pt x="116297" y="168537"/>
                  </a:cubicBezTo>
                  <a:cubicBezTo>
                    <a:pt x="116297" y="172368"/>
                    <a:pt x="113102" y="174921"/>
                    <a:pt x="109907" y="174921"/>
                  </a:cubicBezTo>
                  <a:close/>
                  <a:moveTo>
                    <a:pt x="109907" y="146193"/>
                  </a:moveTo>
                  <a:lnTo>
                    <a:pt x="22365" y="146193"/>
                  </a:lnTo>
                  <a:cubicBezTo>
                    <a:pt x="18531" y="146193"/>
                    <a:pt x="15975" y="143640"/>
                    <a:pt x="15975" y="139809"/>
                  </a:cubicBezTo>
                  <a:cubicBezTo>
                    <a:pt x="15975" y="135979"/>
                    <a:pt x="18531" y="133425"/>
                    <a:pt x="22365" y="133425"/>
                  </a:cubicBezTo>
                  <a:lnTo>
                    <a:pt x="109907" y="133425"/>
                  </a:lnTo>
                  <a:cubicBezTo>
                    <a:pt x="113741" y="133425"/>
                    <a:pt x="116297" y="135979"/>
                    <a:pt x="116297" y="139809"/>
                  </a:cubicBezTo>
                  <a:cubicBezTo>
                    <a:pt x="116297" y="143640"/>
                    <a:pt x="113102" y="146193"/>
                    <a:pt x="109907" y="146193"/>
                  </a:cubicBezTo>
                  <a:close/>
                  <a:moveTo>
                    <a:pt x="109907" y="116827"/>
                  </a:moveTo>
                  <a:lnTo>
                    <a:pt x="22365" y="116827"/>
                  </a:lnTo>
                  <a:cubicBezTo>
                    <a:pt x="18531" y="116827"/>
                    <a:pt x="15975" y="114273"/>
                    <a:pt x="15975" y="110443"/>
                  </a:cubicBezTo>
                  <a:cubicBezTo>
                    <a:pt x="15975" y="106612"/>
                    <a:pt x="18531" y="104059"/>
                    <a:pt x="22365" y="104059"/>
                  </a:cubicBezTo>
                  <a:lnTo>
                    <a:pt x="109907" y="104059"/>
                  </a:lnTo>
                  <a:cubicBezTo>
                    <a:pt x="113741" y="104059"/>
                    <a:pt x="116297" y="106612"/>
                    <a:pt x="116297" y="110443"/>
                  </a:cubicBezTo>
                  <a:cubicBezTo>
                    <a:pt x="116297" y="114273"/>
                    <a:pt x="113102" y="116827"/>
                    <a:pt x="109907" y="116827"/>
                  </a:cubicBezTo>
                  <a:close/>
                  <a:moveTo>
                    <a:pt x="109907" y="88099"/>
                  </a:moveTo>
                  <a:lnTo>
                    <a:pt x="22365" y="88099"/>
                  </a:lnTo>
                  <a:cubicBezTo>
                    <a:pt x="18531" y="88099"/>
                    <a:pt x="15975" y="85545"/>
                    <a:pt x="15975" y="81715"/>
                  </a:cubicBezTo>
                  <a:cubicBezTo>
                    <a:pt x="15975" y="77884"/>
                    <a:pt x="18531" y="75331"/>
                    <a:pt x="22365" y="75331"/>
                  </a:cubicBezTo>
                  <a:lnTo>
                    <a:pt x="109907" y="75331"/>
                  </a:lnTo>
                  <a:cubicBezTo>
                    <a:pt x="113741" y="75331"/>
                    <a:pt x="116297" y="77884"/>
                    <a:pt x="116297" y="81715"/>
                  </a:cubicBezTo>
                  <a:cubicBezTo>
                    <a:pt x="116297" y="85545"/>
                    <a:pt x="113102" y="88099"/>
                    <a:pt x="109907" y="88099"/>
                  </a:cubicBez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57" name="Graphic 4">
              <a:extLst>
                <a:ext uri="{FF2B5EF4-FFF2-40B4-BE49-F238E27FC236}">
                  <a16:creationId xmlns:a16="http://schemas.microsoft.com/office/drawing/2014/main" id="{1E8492F7-1806-4078-BDE7-7B330638D65A}"/>
                </a:ext>
              </a:extLst>
            </p:cNvPr>
            <p:cNvSpPr/>
            <p:nvPr/>
          </p:nvSpPr>
          <p:spPr>
            <a:xfrm>
              <a:off x="9054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260070 w 362309"/>
                <a:gd name="connsiteY6" fmla="*/ 282811 h 362610"/>
                <a:gd name="connsiteX7" fmla="*/ 253680 w 362309"/>
                <a:gd name="connsiteY7" fmla="*/ 289195 h 362610"/>
                <a:gd name="connsiteX8" fmla="*/ 107990 w 362309"/>
                <a:gd name="connsiteY8" fmla="*/ 289195 h 362610"/>
                <a:gd name="connsiteX9" fmla="*/ 101600 w 362309"/>
                <a:gd name="connsiteY9" fmla="*/ 282811 h 362610"/>
                <a:gd name="connsiteX10" fmla="*/ 101600 w 362309"/>
                <a:gd name="connsiteY10" fmla="*/ 79162 h 362610"/>
                <a:gd name="connsiteX11" fmla="*/ 107990 w 362309"/>
                <a:gd name="connsiteY11" fmla="*/ 72778 h 362610"/>
                <a:gd name="connsiteX12" fmla="*/ 202561 w 362309"/>
                <a:gd name="connsiteY12" fmla="*/ 72778 h 362610"/>
                <a:gd name="connsiteX13" fmla="*/ 205117 w 362309"/>
                <a:gd name="connsiteY13" fmla="*/ 73416 h 362610"/>
                <a:gd name="connsiteX14" fmla="*/ 207034 w 362309"/>
                <a:gd name="connsiteY14" fmla="*/ 74693 h 362610"/>
                <a:gd name="connsiteX15" fmla="*/ 258154 w 362309"/>
                <a:gd name="connsiteY15" fmla="*/ 125765 h 362610"/>
                <a:gd name="connsiteX16" fmla="*/ 260070 w 362309"/>
                <a:gd name="connsiteY16" fmla="*/ 130233 h 362610"/>
                <a:gd name="connsiteX17" fmla="*/ 260070 w 362309"/>
                <a:gd name="connsiteY17" fmla="*/ 282811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2309" y="81077"/>
                    <a:pt x="281157" y="0"/>
                    <a:pt x="180835" y="0"/>
                  </a:cubicBezTo>
                  <a:cubicBezTo>
                    <a:pt x="180835" y="0"/>
                    <a:pt x="180835" y="0"/>
                    <a:pt x="180835" y="0"/>
                  </a:cubicBezTo>
                  <a:close/>
                  <a:moveTo>
                    <a:pt x="260070" y="282811"/>
                  </a:moveTo>
                  <a:cubicBezTo>
                    <a:pt x="260070" y="286641"/>
                    <a:pt x="257514" y="289195"/>
                    <a:pt x="253680" y="289195"/>
                  </a:cubicBezTo>
                  <a:lnTo>
                    <a:pt x="107990" y="289195"/>
                  </a:lnTo>
                  <a:cubicBezTo>
                    <a:pt x="104156" y="289195"/>
                    <a:pt x="101600" y="286641"/>
                    <a:pt x="101600" y="282811"/>
                  </a:cubicBezTo>
                  <a:lnTo>
                    <a:pt x="101600" y="79162"/>
                  </a:lnTo>
                  <a:cubicBezTo>
                    <a:pt x="101600" y="75331"/>
                    <a:pt x="104156" y="72778"/>
                    <a:pt x="107990" y="72778"/>
                  </a:cubicBezTo>
                  <a:lnTo>
                    <a:pt x="202561" y="72778"/>
                  </a:lnTo>
                  <a:cubicBezTo>
                    <a:pt x="203200" y="72778"/>
                    <a:pt x="204478" y="72778"/>
                    <a:pt x="205117" y="73416"/>
                  </a:cubicBezTo>
                  <a:cubicBezTo>
                    <a:pt x="205756" y="74054"/>
                    <a:pt x="206395" y="74054"/>
                    <a:pt x="207034" y="74693"/>
                  </a:cubicBezTo>
                  <a:lnTo>
                    <a:pt x="258154" y="125765"/>
                  </a:lnTo>
                  <a:cubicBezTo>
                    <a:pt x="259431" y="127041"/>
                    <a:pt x="260070" y="128318"/>
                    <a:pt x="260070" y="130233"/>
                  </a:cubicBezTo>
                  <a:lnTo>
                    <a:pt x="260070" y="282811"/>
                  </a:lnTo>
                  <a:close/>
                </a:path>
              </a:pathLst>
            </a:custGeom>
            <a:grpFill/>
            <a:ln w="6390" cap="flat">
              <a:noFill/>
              <a:prstDash val="solid"/>
              <a:miter/>
            </a:ln>
          </p:spPr>
          <p:txBody>
            <a:bodyPr rtlCol="0" anchor="ctr"/>
            <a:lstStyle/>
            <a:p>
              <a:endParaRPr lang="en-US" sz="1200">
                <a:solidFill>
                  <a:schemeClr val="bg1">
                    <a:lumMod val="75000"/>
                  </a:schemeClr>
                </a:solidFill>
              </a:endParaRPr>
            </a:p>
          </p:txBody>
        </p:sp>
      </p:grpSp>
      <p:grpSp>
        <p:nvGrpSpPr>
          <p:cNvPr id="58" name="Graphic 4">
            <a:extLst>
              <a:ext uri="{FF2B5EF4-FFF2-40B4-BE49-F238E27FC236}">
                <a16:creationId xmlns:a16="http://schemas.microsoft.com/office/drawing/2014/main" id="{95558CDA-8F23-49A0-AA53-1C304A4FA046}"/>
              </a:ext>
            </a:extLst>
          </p:cNvPr>
          <p:cNvGrpSpPr/>
          <p:nvPr/>
        </p:nvGrpSpPr>
        <p:grpSpPr>
          <a:xfrm>
            <a:off x="3534043" y="5368682"/>
            <a:ext cx="361670" cy="361333"/>
            <a:chOff x="5099808" y="3824168"/>
            <a:chExt cx="361670" cy="361333"/>
          </a:xfrm>
          <a:solidFill>
            <a:srgbClr val="86BC25"/>
          </a:solidFill>
        </p:grpSpPr>
        <p:sp>
          <p:nvSpPr>
            <p:cNvPr id="59" name="Graphic 4">
              <a:extLst>
                <a:ext uri="{FF2B5EF4-FFF2-40B4-BE49-F238E27FC236}">
                  <a16:creationId xmlns:a16="http://schemas.microsoft.com/office/drawing/2014/main" id="{880A641B-0520-4AEA-98CC-E81A2BC86A73}"/>
                </a:ext>
              </a:extLst>
            </p:cNvPr>
            <p:cNvSpPr/>
            <p:nvPr/>
          </p:nvSpPr>
          <p:spPr>
            <a:xfrm>
              <a:off x="5232080" y="4011218"/>
              <a:ext cx="2555" cy="24259"/>
            </a:xfrm>
            <a:custGeom>
              <a:avLst/>
              <a:gdLst>
                <a:gd name="connsiteX0" fmla="*/ 0 w 2555"/>
                <a:gd name="connsiteY0" fmla="*/ 0 h 24259"/>
                <a:gd name="connsiteX1" fmla="*/ 2556 w 2555"/>
                <a:gd name="connsiteY1" fmla="*/ 0 h 24259"/>
                <a:gd name="connsiteX2" fmla="*/ 2556 w 2555"/>
                <a:gd name="connsiteY2" fmla="*/ 24259 h 24259"/>
                <a:gd name="connsiteX3" fmla="*/ 0 w 2555"/>
                <a:gd name="connsiteY3" fmla="*/ 24259 h 24259"/>
              </a:gdLst>
              <a:ahLst/>
              <a:cxnLst>
                <a:cxn ang="0">
                  <a:pos x="connsiteX0" y="connsiteY0"/>
                </a:cxn>
                <a:cxn ang="0">
                  <a:pos x="connsiteX1" y="connsiteY1"/>
                </a:cxn>
                <a:cxn ang="0">
                  <a:pos x="connsiteX2" y="connsiteY2"/>
                </a:cxn>
                <a:cxn ang="0">
                  <a:pos x="connsiteX3" y="connsiteY3"/>
                </a:cxn>
              </a:cxnLst>
              <a:rect l="l" t="t" r="r" b="b"/>
              <a:pathLst>
                <a:path w="2555" h="24259">
                  <a:moveTo>
                    <a:pt x="0" y="0"/>
                  </a:moveTo>
                  <a:lnTo>
                    <a:pt x="2556" y="0"/>
                  </a:lnTo>
                  <a:lnTo>
                    <a:pt x="2556" y="24259"/>
                  </a:lnTo>
                  <a:lnTo>
                    <a:pt x="0" y="24259"/>
                  </a:lnTo>
                  <a:close/>
                </a:path>
              </a:pathLst>
            </a:custGeom>
            <a:grpFill/>
            <a:ln w="6390" cap="flat">
              <a:noFill/>
              <a:prstDash val="solid"/>
              <a:miter/>
            </a:ln>
          </p:spPr>
          <p:txBody>
            <a:bodyPr rtlCol="0" anchor="ctr"/>
            <a:lstStyle/>
            <a:p>
              <a:endParaRPr lang="en-US" sz="1200"/>
            </a:p>
          </p:txBody>
        </p:sp>
        <p:sp>
          <p:nvSpPr>
            <p:cNvPr id="60" name="Graphic 4">
              <a:extLst>
                <a:ext uri="{FF2B5EF4-FFF2-40B4-BE49-F238E27FC236}">
                  <a16:creationId xmlns:a16="http://schemas.microsoft.com/office/drawing/2014/main" id="{64DAF1F4-944A-41E4-8E31-60972F37A69D}"/>
                </a:ext>
              </a:extLst>
            </p:cNvPr>
            <p:cNvSpPr/>
            <p:nvPr/>
          </p:nvSpPr>
          <p:spPr>
            <a:xfrm>
              <a:off x="5294701" y="4006749"/>
              <a:ext cx="2555" cy="28727"/>
            </a:xfrm>
            <a:custGeom>
              <a:avLst/>
              <a:gdLst>
                <a:gd name="connsiteX0" fmla="*/ 0 w 2555"/>
                <a:gd name="connsiteY0" fmla="*/ 0 h 28727"/>
                <a:gd name="connsiteX1" fmla="*/ 2556 w 2555"/>
                <a:gd name="connsiteY1" fmla="*/ 0 h 28727"/>
                <a:gd name="connsiteX2" fmla="*/ 2556 w 2555"/>
                <a:gd name="connsiteY2" fmla="*/ 28728 h 28727"/>
                <a:gd name="connsiteX3" fmla="*/ 0 w 2555"/>
                <a:gd name="connsiteY3" fmla="*/ 28728 h 28727"/>
              </a:gdLst>
              <a:ahLst/>
              <a:cxnLst>
                <a:cxn ang="0">
                  <a:pos x="connsiteX0" y="connsiteY0"/>
                </a:cxn>
                <a:cxn ang="0">
                  <a:pos x="connsiteX1" y="connsiteY1"/>
                </a:cxn>
                <a:cxn ang="0">
                  <a:pos x="connsiteX2" y="connsiteY2"/>
                </a:cxn>
                <a:cxn ang="0">
                  <a:pos x="connsiteX3" y="connsiteY3"/>
                </a:cxn>
              </a:cxnLst>
              <a:rect l="l" t="t" r="r" b="b"/>
              <a:pathLst>
                <a:path w="2555" h="28727">
                  <a:moveTo>
                    <a:pt x="0" y="0"/>
                  </a:moveTo>
                  <a:lnTo>
                    <a:pt x="2556" y="0"/>
                  </a:lnTo>
                  <a:lnTo>
                    <a:pt x="2556" y="28728"/>
                  </a:lnTo>
                  <a:lnTo>
                    <a:pt x="0" y="28728"/>
                  </a:lnTo>
                  <a:close/>
                </a:path>
              </a:pathLst>
            </a:custGeom>
            <a:grpFill/>
            <a:ln w="6390" cap="flat">
              <a:noFill/>
              <a:prstDash val="solid"/>
              <a:miter/>
            </a:ln>
          </p:spPr>
          <p:txBody>
            <a:bodyPr rtlCol="0" anchor="ctr"/>
            <a:lstStyle/>
            <a:p>
              <a:endParaRPr lang="en-US" sz="1200"/>
            </a:p>
          </p:txBody>
        </p:sp>
        <p:sp>
          <p:nvSpPr>
            <p:cNvPr id="61" name="Graphic 4">
              <a:extLst>
                <a:ext uri="{FF2B5EF4-FFF2-40B4-BE49-F238E27FC236}">
                  <a16:creationId xmlns:a16="http://schemas.microsoft.com/office/drawing/2014/main" id="{D853CFD1-136C-4945-90E3-A58F7ED03839}"/>
                </a:ext>
              </a:extLst>
            </p:cNvPr>
            <p:cNvSpPr/>
            <p:nvPr/>
          </p:nvSpPr>
          <p:spPr>
            <a:xfrm>
              <a:off x="5325373" y="4089741"/>
              <a:ext cx="6389" cy="6383"/>
            </a:xfrm>
            <a:custGeom>
              <a:avLst/>
              <a:gdLst>
                <a:gd name="connsiteX0" fmla="*/ 0 w 6389"/>
                <a:gd name="connsiteY0" fmla="*/ 0 h 6383"/>
                <a:gd name="connsiteX1" fmla="*/ 0 w 6389"/>
                <a:gd name="connsiteY1" fmla="*/ 6384 h 6383"/>
                <a:gd name="connsiteX2" fmla="*/ 0 w 6389"/>
                <a:gd name="connsiteY2" fmla="*/ 0 h 6383"/>
              </a:gdLst>
              <a:ahLst/>
              <a:cxnLst>
                <a:cxn ang="0">
                  <a:pos x="connsiteX0" y="connsiteY0"/>
                </a:cxn>
                <a:cxn ang="0">
                  <a:pos x="connsiteX1" y="connsiteY1"/>
                </a:cxn>
                <a:cxn ang="0">
                  <a:pos x="connsiteX2" y="connsiteY2"/>
                </a:cxn>
              </a:cxnLst>
              <a:rect l="l" t="t" r="r" b="b"/>
              <a:pathLst>
                <a:path w="6389" h="6383">
                  <a:moveTo>
                    <a:pt x="0" y="0"/>
                  </a:moveTo>
                  <a:lnTo>
                    <a:pt x="0" y="6384"/>
                  </a:lnTo>
                  <a:lnTo>
                    <a:pt x="0" y="0"/>
                  </a:lnTo>
                  <a:close/>
                </a:path>
              </a:pathLst>
            </a:custGeom>
            <a:grpFill/>
            <a:ln w="6390" cap="flat">
              <a:noFill/>
              <a:prstDash val="solid"/>
              <a:miter/>
            </a:ln>
          </p:spPr>
          <p:txBody>
            <a:bodyPr rtlCol="0" anchor="ctr"/>
            <a:lstStyle/>
            <a:p>
              <a:endParaRPr lang="en-US" sz="1200"/>
            </a:p>
          </p:txBody>
        </p:sp>
        <p:sp>
          <p:nvSpPr>
            <p:cNvPr id="62" name="Graphic 4">
              <a:extLst>
                <a:ext uri="{FF2B5EF4-FFF2-40B4-BE49-F238E27FC236}">
                  <a16:creationId xmlns:a16="http://schemas.microsoft.com/office/drawing/2014/main" id="{0931B844-53C4-44A1-8DA9-F44108A06094}"/>
                </a:ext>
              </a:extLst>
            </p:cNvPr>
            <p:cNvSpPr/>
            <p:nvPr/>
          </p:nvSpPr>
          <p:spPr>
            <a:xfrm>
              <a:off x="5326012" y="3992705"/>
              <a:ext cx="2555" cy="42772"/>
            </a:xfrm>
            <a:custGeom>
              <a:avLst/>
              <a:gdLst>
                <a:gd name="connsiteX0" fmla="*/ 0 w 2555"/>
                <a:gd name="connsiteY0" fmla="*/ 0 h 42772"/>
                <a:gd name="connsiteX1" fmla="*/ 2556 w 2555"/>
                <a:gd name="connsiteY1" fmla="*/ 0 h 42772"/>
                <a:gd name="connsiteX2" fmla="*/ 2556 w 2555"/>
                <a:gd name="connsiteY2" fmla="*/ 42773 h 42772"/>
                <a:gd name="connsiteX3" fmla="*/ 0 w 2555"/>
                <a:gd name="connsiteY3" fmla="*/ 42773 h 42772"/>
              </a:gdLst>
              <a:ahLst/>
              <a:cxnLst>
                <a:cxn ang="0">
                  <a:pos x="connsiteX0" y="connsiteY0"/>
                </a:cxn>
                <a:cxn ang="0">
                  <a:pos x="connsiteX1" y="connsiteY1"/>
                </a:cxn>
                <a:cxn ang="0">
                  <a:pos x="connsiteX2" y="connsiteY2"/>
                </a:cxn>
                <a:cxn ang="0">
                  <a:pos x="connsiteX3" y="connsiteY3"/>
                </a:cxn>
              </a:cxnLst>
              <a:rect l="l" t="t" r="r" b="b"/>
              <a:pathLst>
                <a:path w="2555" h="42772">
                  <a:moveTo>
                    <a:pt x="0" y="0"/>
                  </a:moveTo>
                  <a:lnTo>
                    <a:pt x="2556" y="0"/>
                  </a:lnTo>
                  <a:lnTo>
                    <a:pt x="2556" y="42773"/>
                  </a:lnTo>
                  <a:lnTo>
                    <a:pt x="0" y="42773"/>
                  </a:lnTo>
                  <a:close/>
                </a:path>
              </a:pathLst>
            </a:custGeom>
            <a:grpFill/>
            <a:ln w="6390" cap="flat">
              <a:noFill/>
              <a:prstDash val="solid"/>
              <a:miter/>
            </a:ln>
          </p:spPr>
          <p:txBody>
            <a:bodyPr rtlCol="0" anchor="ctr"/>
            <a:lstStyle/>
            <a:p>
              <a:endParaRPr lang="en-US" sz="1200"/>
            </a:p>
          </p:txBody>
        </p:sp>
        <p:sp>
          <p:nvSpPr>
            <p:cNvPr id="63" name="Graphic 4">
              <a:extLst>
                <a:ext uri="{FF2B5EF4-FFF2-40B4-BE49-F238E27FC236}">
                  <a16:creationId xmlns:a16="http://schemas.microsoft.com/office/drawing/2014/main" id="{0CE9B024-6BDA-4067-B885-F9C886EB6B35}"/>
                </a:ext>
              </a:extLst>
            </p:cNvPr>
            <p:cNvSpPr/>
            <p:nvPr/>
          </p:nvSpPr>
          <p:spPr>
            <a:xfrm>
              <a:off x="5264030" y="4063567"/>
              <a:ext cx="32588" cy="12129"/>
            </a:xfrm>
            <a:custGeom>
              <a:avLst/>
              <a:gdLst>
                <a:gd name="connsiteX0" fmla="*/ 0 w 32588"/>
                <a:gd name="connsiteY0" fmla="*/ 12129 h 12129"/>
                <a:gd name="connsiteX1" fmla="*/ 32589 w 32588"/>
                <a:gd name="connsiteY1" fmla="*/ 12129 h 12129"/>
                <a:gd name="connsiteX2" fmla="*/ 31311 w 32588"/>
                <a:gd name="connsiteY2" fmla="*/ 0 h 12129"/>
                <a:gd name="connsiteX3" fmla="*/ 1278 w 32588"/>
                <a:gd name="connsiteY3" fmla="*/ 0 h 12129"/>
              </a:gdLst>
              <a:ahLst/>
              <a:cxnLst>
                <a:cxn ang="0">
                  <a:pos x="connsiteX0" y="connsiteY0"/>
                </a:cxn>
                <a:cxn ang="0">
                  <a:pos x="connsiteX1" y="connsiteY1"/>
                </a:cxn>
                <a:cxn ang="0">
                  <a:pos x="connsiteX2" y="connsiteY2"/>
                </a:cxn>
                <a:cxn ang="0">
                  <a:pos x="connsiteX3" y="connsiteY3"/>
                </a:cxn>
              </a:cxnLst>
              <a:rect l="l" t="t" r="r" b="b"/>
              <a:pathLst>
                <a:path w="32588" h="12129">
                  <a:moveTo>
                    <a:pt x="0" y="12129"/>
                  </a:moveTo>
                  <a:lnTo>
                    <a:pt x="32589" y="12129"/>
                  </a:lnTo>
                  <a:lnTo>
                    <a:pt x="31311" y="0"/>
                  </a:lnTo>
                  <a:lnTo>
                    <a:pt x="1278" y="0"/>
                  </a:lnTo>
                  <a:close/>
                </a:path>
              </a:pathLst>
            </a:custGeom>
            <a:grpFill/>
            <a:ln w="6390" cap="flat">
              <a:noFill/>
              <a:prstDash val="solid"/>
              <a:miter/>
            </a:ln>
          </p:spPr>
          <p:txBody>
            <a:bodyPr rtlCol="0" anchor="ctr"/>
            <a:lstStyle/>
            <a:p>
              <a:endParaRPr lang="en-US" sz="1200"/>
            </a:p>
          </p:txBody>
        </p:sp>
        <p:sp>
          <p:nvSpPr>
            <p:cNvPr id="64" name="Graphic 4">
              <a:extLst>
                <a:ext uri="{FF2B5EF4-FFF2-40B4-BE49-F238E27FC236}">
                  <a16:creationId xmlns:a16="http://schemas.microsoft.com/office/drawing/2014/main" id="{8E422EE2-191C-41BB-AF35-607A013E7E92}"/>
                </a:ext>
              </a:extLst>
            </p:cNvPr>
            <p:cNvSpPr/>
            <p:nvPr/>
          </p:nvSpPr>
          <p:spPr>
            <a:xfrm>
              <a:off x="5200769" y="4027817"/>
              <a:ext cx="2555" cy="7660"/>
            </a:xfrm>
            <a:custGeom>
              <a:avLst/>
              <a:gdLst>
                <a:gd name="connsiteX0" fmla="*/ 0 w 2555"/>
                <a:gd name="connsiteY0" fmla="*/ 0 h 7660"/>
                <a:gd name="connsiteX1" fmla="*/ 2556 w 2555"/>
                <a:gd name="connsiteY1" fmla="*/ 0 h 7660"/>
                <a:gd name="connsiteX2" fmla="*/ 2556 w 2555"/>
                <a:gd name="connsiteY2" fmla="*/ 7661 h 7660"/>
                <a:gd name="connsiteX3" fmla="*/ 0 w 2555"/>
                <a:gd name="connsiteY3" fmla="*/ 7661 h 7660"/>
              </a:gdLst>
              <a:ahLst/>
              <a:cxnLst>
                <a:cxn ang="0">
                  <a:pos x="connsiteX0" y="connsiteY0"/>
                </a:cxn>
                <a:cxn ang="0">
                  <a:pos x="connsiteX1" y="connsiteY1"/>
                </a:cxn>
                <a:cxn ang="0">
                  <a:pos x="connsiteX2" y="connsiteY2"/>
                </a:cxn>
                <a:cxn ang="0">
                  <a:pos x="connsiteX3" y="connsiteY3"/>
                </a:cxn>
              </a:cxnLst>
              <a:rect l="l" t="t" r="r" b="b"/>
              <a:pathLst>
                <a:path w="2555" h="7660">
                  <a:moveTo>
                    <a:pt x="0" y="0"/>
                  </a:moveTo>
                  <a:lnTo>
                    <a:pt x="2556" y="0"/>
                  </a:lnTo>
                  <a:lnTo>
                    <a:pt x="2556" y="7661"/>
                  </a:lnTo>
                  <a:lnTo>
                    <a:pt x="0" y="7661"/>
                  </a:lnTo>
                  <a:close/>
                </a:path>
              </a:pathLst>
            </a:custGeom>
            <a:grpFill/>
            <a:ln w="6390" cap="flat">
              <a:noFill/>
              <a:prstDash val="solid"/>
              <a:miter/>
            </a:ln>
          </p:spPr>
          <p:txBody>
            <a:bodyPr rtlCol="0" anchor="ctr"/>
            <a:lstStyle/>
            <a:p>
              <a:endParaRPr lang="en-US" sz="1200"/>
            </a:p>
          </p:txBody>
        </p:sp>
        <p:sp>
          <p:nvSpPr>
            <p:cNvPr id="65" name="Graphic 4">
              <a:extLst>
                <a:ext uri="{FF2B5EF4-FFF2-40B4-BE49-F238E27FC236}">
                  <a16:creationId xmlns:a16="http://schemas.microsoft.com/office/drawing/2014/main" id="{E368AEAC-9F8B-4F10-B7A6-B86D391129E5}"/>
                </a:ext>
              </a:extLst>
            </p:cNvPr>
            <p:cNvSpPr/>
            <p:nvPr/>
          </p:nvSpPr>
          <p:spPr>
            <a:xfrm>
              <a:off x="5263391" y="3994620"/>
              <a:ext cx="2555" cy="41495"/>
            </a:xfrm>
            <a:custGeom>
              <a:avLst/>
              <a:gdLst>
                <a:gd name="connsiteX0" fmla="*/ 0 w 2555"/>
                <a:gd name="connsiteY0" fmla="*/ 0 h 41495"/>
                <a:gd name="connsiteX1" fmla="*/ 2556 w 2555"/>
                <a:gd name="connsiteY1" fmla="*/ 0 h 41495"/>
                <a:gd name="connsiteX2" fmla="*/ 2556 w 2555"/>
                <a:gd name="connsiteY2" fmla="*/ 41496 h 41495"/>
                <a:gd name="connsiteX3" fmla="*/ 0 w 2555"/>
                <a:gd name="connsiteY3" fmla="*/ 41496 h 41495"/>
              </a:gdLst>
              <a:ahLst/>
              <a:cxnLst>
                <a:cxn ang="0">
                  <a:pos x="connsiteX0" y="connsiteY0"/>
                </a:cxn>
                <a:cxn ang="0">
                  <a:pos x="connsiteX1" y="connsiteY1"/>
                </a:cxn>
                <a:cxn ang="0">
                  <a:pos x="connsiteX2" y="connsiteY2"/>
                </a:cxn>
                <a:cxn ang="0">
                  <a:pos x="connsiteX3" y="connsiteY3"/>
                </a:cxn>
              </a:cxnLst>
              <a:rect l="l" t="t" r="r" b="b"/>
              <a:pathLst>
                <a:path w="2555" h="41495">
                  <a:moveTo>
                    <a:pt x="0" y="0"/>
                  </a:moveTo>
                  <a:lnTo>
                    <a:pt x="2556" y="0"/>
                  </a:lnTo>
                  <a:lnTo>
                    <a:pt x="2556" y="41496"/>
                  </a:lnTo>
                  <a:lnTo>
                    <a:pt x="0" y="41496"/>
                  </a:lnTo>
                  <a:close/>
                </a:path>
              </a:pathLst>
            </a:custGeom>
            <a:grpFill/>
            <a:ln w="6390" cap="flat">
              <a:noFill/>
              <a:prstDash val="solid"/>
              <a:miter/>
            </a:ln>
          </p:spPr>
          <p:txBody>
            <a:bodyPr rtlCol="0" anchor="ctr"/>
            <a:lstStyle/>
            <a:p>
              <a:endParaRPr lang="en-US" sz="1200"/>
            </a:p>
          </p:txBody>
        </p:sp>
        <p:sp>
          <p:nvSpPr>
            <p:cNvPr id="66" name="Graphic 4">
              <a:extLst>
                <a:ext uri="{FF2B5EF4-FFF2-40B4-BE49-F238E27FC236}">
                  <a16:creationId xmlns:a16="http://schemas.microsoft.com/office/drawing/2014/main" id="{6F79E8E8-FF2F-4C19-AD80-76389F817181}"/>
                </a:ext>
              </a:extLst>
            </p:cNvPr>
            <p:cNvSpPr/>
            <p:nvPr/>
          </p:nvSpPr>
          <p:spPr>
            <a:xfrm>
              <a:off x="5357323" y="3972914"/>
              <a:ext cx="2555" cy="63201"/>
            </a:xfrm>
            <a:custGeom>
              <a:avLst/>
              <a:gdLst>
                <a:gd name="connsiteX0" fmla="*/ 0 w 2555"/>
                <a:gd name="connsiteY0" fmla="*/ 0 h 63201"/>
                <a:gd name="connsiteX1" fmla="*/ 2556 w 2555"/>
                <a:gd name="connsiteY1" fmla="*/ 0 h 63201"/>
                <a:gd name="connsiteX2" fmla="*/ 2556 w 2555"/>
                <a:gd name="connsiteY2" fmla="*/ 63202 h 63201"/>
                <a:gd name="connsiteX3" fmla="*/ 0 w 2555"/>
                <a:gd name="connsiteY3" fmla="*/ 63202 h 63201"/>
              </a:gdLst>
              <a:ahLst/>
              <a:cxnLst>
                <a:cxn ang="0">
                  <a:pos x="connsiteX0" y="connsiteY0"/>
                </a:cxn>
                <a:cxn ang="0">
                  <a:pos x="connsiteX1" y="connsiteY1"/>
                </a:cxn>
                <a:cxn ang="0">
                  <a:pos x="connsiteX2" y="connsiteY2"/>
                </a:cxn>
                <a:cxn ang="0">
                  <a:pos x="connsiteX3" y="connsiteY3"/>
                </a:cxn>
              </a:cxnLst>
              <a:rect l="l" t="t" r="r" b="b"/>
              <a:pathLst>
                <a:path w="2555" h="63201">
                  <a:moveTo>
                    <a:pt x="0" y="0"/>
                  </a:moveTo>
                  <a:lnTo>
                    <a:pt x="2556" y="0"/>
                  </a:lnTo>
                  <a:lnTo>
                    <a:pt x="2556" y="63202"/>
                  </a:lnTo>
                  <a:lnTo>
                    <a:pt x="0" y="63202"/>
                  </a:lnTo>
                  <a:close/>
                </a:path>
              </a:pathLst>
            </a:custGeom>
            <a:grpFill/>
            <a:ln w="6390" cap="flat">
              <a:noFill/>
              <a:prstDash val="solid"/>
              <a:miter/>
            </a:ln>
          </p:spPr>
          <p:txBody>
            <a:bodyPr rtlCol="0" anchor="ctr"/>
            <a:lstStyle/>
            <a:p>
              <a:endParaRPr lang="en-US" sz="1200"/>
            </a:p>
          </p:txBody>
        </p:sp>
        <p:sp>
          <p:nvSpPr>
            <p:cNvPr id="67" name="Graphic 4">
              <a:extLst>
                <a:ext uri="{FF2B5EF4-FFF2-40B4-BE49-F238E27FC236}">
                  <a16:creationId xmlns:a16="http://schemas.microsoft.com/office/drawing/2014/main" id="{008F1809-7547-44BA-91E4-93C44A773370}"/>
                </a:ext>
              </a:extLst>
            </p:cNvPr>
            <p:cNvSpPr/>
            <p:nvPr/>
          </p:nvSpPr>
          <p:spPr>
            <a:xfrm>
              <a:off x="5180322" y="3919927"/>
              <a:ext cx="200643" cy="131509"/>
            </a:xfrm>
            <a:custGeom>
              <a:avLst/>
              <a:gdLst>
                <a:gd name="connsiteX0" fmla="*/ 184669 w 200643"/>
                <a:gd name="connsiteY0" fmla="*/ 0 h 131509"/>
                <a:gd name="connsiteX1" fmla="*/ 15336 w 200643"/>
                <a:gd name="connsiteY1" fmla="*/ 0 h 131509"/>
                <a:gd name="connsiteX2" fmla="*/ 0 w 200643"/>
                <a:gd name="connsiteY2" fmla="*/ 15960 h 131509"/>
                <a:gd name="connsiteX3" fmla="*/ 0 w 200643"/>
                <a:gd name="connsiteY3" fmla="*/ 115550 h 131509"/>
                <a:gd name="connsiteX4" fmla="*/ 15336 w 200643"/>
                <a:gd name="connsiteY4" fmla="*/ 131510 h 131509"/>
                <a:gd name="connsiteX5" fmla="*/ 79874 w 200643"/>
                <a:gd name="connsiteY5" fmla="*/ 131510 h 131509"/>
                <a:gd name="connsiteX6" fmla="*/ 120770 w 200643"/>
                <a:gd name="connsiteY6" fmla="*/ 131510 h 131509"/>
                <a:gd name="connsiteX7" fmla="*/ 185308 w 200643"/>
                <a:gd name="connsiteY7" fmla="*/ 131510 h 131509"/>
                <a:gd name="connsiteX8" fmla="*/ 200644 w 200643"/>
                <a:gd name="connsiteY8" fmla="*/ 115550 h 131509"/>
                <a:gd name="connsiteX9" fmla="*/ 200644 w 200643"/>
                <a:gd name="connsiteY9" fmla="*/ 15960 h 131509"/>
                <a:gd name="connsiteX10" fmla="*/ 184669 w 200643"/>
                <a:gd name="connsiteY10" fmla="*/ 0 h 131509"/>
                <a:gd name="connsiteX11" fmla="*/ 11502 w 200643"/>
                <a:gd name="connsiteY11" fmla="*/ 70224 h 131509"/>
                <a:gd name="connsiteX12" fmla="*/ 89459 w 200643"/>
                <a:gd name="connsiteY12" fmla="*/ 28728 h 131509"/>
                <a:gd name="connsiteX13" fmla="*/ 96488 w 200643"/>
                <a:gd name="connsiteY13" fmla="*/ 29366 h 131509"/>
                <a:gd name="connsiteX14" fmla="*/ 117575 w 200643"/>
                <a:gd name="connsiteY14" fmla="*/ 47241 h 131509"/>
                <a:gd name="connsiteX15" fmla="*/ 168055 w 200643"/>
                <a:gd name="connsiteY15" fmla="*/ 14683 h 131509"/>
                <a:gd name="connsiteX16" fmla="*/ 164221 w 200643"/>
                <a:gd name="connsiteY16" fmla="*/ 8299 h 131509"/>
                <a:gd name="connsiteX17" fmla="*/ 171250 w 200643"/>
                <a:gd name="connsiteY17" fmla="*/ 2553 h 131509"/>
                <a:gd name="connsiteX18" fmla="*/ 186586 w 200643"/>
                <a:gd name="connsiteY18" fmla="*/ 4468 h 131509"/>
                <a:gd name="connsiteX19" fmla="*/ 186586 w 200643"/>
                <a:gd name="connsiteY19" fmla="*/ 4468 h 131509"/>
                <a:gd name="connsiteX20" fmla="*/ 188503 w 200643"/>
                <a:gd name="connsiteY20" fmla="*/ 5107 h 131509"/>
                <a:gd name="connsiteX21" fmla="*/ 189142 w 200643"/>
                <a:gd name="connsiteY21" fmla="*/ 5107 h 131509"/>
                <a:gd name="connsiteX22" fmla="*/ 191059 w 200643"/>
                <a:gd name="connsiteY22" fmla="*/ 7022 h 131509"/>
                <a:gd name="connsiteX23" fmla="*/ 191059 w 200643"/>
                <a:gd name="connsiteY23" fmla="*/ 7022 h 131509"/>
                <a:gd name="connsiteX24" fmla="*/ 191059 w 200643"/>
                <a:gd name="connsiteY24" fmla="*/ 7022 h 131509"/>
                <a:gd name="connsiteX25" fmla="*/ 191059 w 200643"/>
                <a:gd name="connsiteY25" fmla="*/ 7660 h 131509"/>
                <a:gd name="connsiteX26" fmla="*/ 191698 w 200643"/>
                <a:gd name="connsiteY26" fmla="*/ 9576 h 131509"/>
                <a:gd name="connsiteX27" fmla="*/ 191698 w 200643"/>
                <a:gd name="connsiteY27" fmla="*/ 10214 h 131509"/>
                <a:gd name="connsiteX28" fmla="*/ 191698 w 200643"/>
                <a:gd name="connsiteY28" fmla="*/ 12129 h 131509"/>
                <a:gd name="connsiteX29" fmla="*/ 191698 w 200643"/>
                <a:gd name="connsiteY29" fmla="*/ 12768 h 131509"/>
                <a:gd name="connsiteX30" fmla="*/ 186586 w 200643"/>
                <a:gd name="connsiteY30" fmla="*/ 27451 h 131509"/>
                <a:gd name="connsiteX31" fmla="*/ 180835 w 200643"/>
                <a:gd name="connsiteY31" fmla="*/ 31920 h 131509"/>
                <a:gd name="connsiteX32" fmla="*/ 178918 w 200643"/>
                <a:gd name="connsiteY32" fmla="*/ 31281 h 131509"/>
                <a:gd name="connsiteX33" fmla="*/ 174445 w 200643"/>
                <a:gd name="connsiteY33" fmla="*/ 25536 h 131509"/>
                <a:gd name="connsiteX34" fmla="*/ 120770 w 200643"/>
                <a:gd name="connsiteY34" fmla="*/ 60648 h 131509"/>
                <a:gd name="connsiteX35" fmla="*/ 113102 w 200643"/>
                <a:gd name="connsiteY35" fmla="*/ 60009 h 131509"/>
                <a:gd name="connsiteX36" fmla="*/ 92015 w 200643"/>
                <a:gd name="connsiteY36" fmla="*/ 42134 h 131509"/>
                <a:gd name="connsiteX37" fmla="*/ 17892 w 200643"/>
                <a:gd name="connsiteY37" fmla="*/ 81715 h 131509"/>
                <a:gd name="connsiteX38" fmla="*/ 14697 w 200643"/>
                <a:gd name="connsiteY38" fmla="*/ 82353 h 131509"/>
                <a:gd name="connsiteX39" fmla="*/ 8946 w 200643"/>
                <a:gd name="connsiteY39" fmla="*/ 79161 h 131509"/>
                <a:gd name="connsiteX40" fmla="*/ 11502 w 200643"/>
                <a:gd name="connsiteY40" fmla="*/ 70224 h 131509"/>
                <a:gd name="connsiteX41" fmla="*/ 35783 w 200643"/>
                <a:gd name="connsiteY41" fmla="*/ 122572 h 131509"/>
                <a:gd name="connsiteX42" fmla="*/ 29394 w 200643"/>
                <a:gd name="connsiteY42" fmla="*/ 128956 h 131509"/>
                <a:gd name="connsiteX43" fmla="*/ 14058 w 200643"/>
                <a:gd name="connsiteY43" fmla="*/ 128956 h 131509"/>
                <a:gd name="connsiteX44" fmla="*/ 7668 w 200643"/>
                <a:gd name="connsiteY44" fmla="*/ 122572 h 131509"/>
                <a:gd name="connsiteX45" fmla="*/ 7668 w 200643"/>
                <a:gd name="connsiteY45" fmla="*/ 102144 h 131509"/>
                <a:gd name="connsiteX46" fmla="*/ 14058 w 200643"/>
                <a:gd name="connsiteY46" fmla="*/ 95760 h 131509"/>
                <a:gd name="connsiteX47" fmla="*/ 29394 w 200643"/>
                <a:gd name="connsiteY47" fmla="*/ 95760 h 131509"/>
                <a:gd name="connsiteX48" fmla="*/ 35783 w 200643"/>
                <a:gd name="connsiteY48" fmla="*/ 102144 h 131509"/>
                <a:gd name="connsiteX49" fmla="*/ 35783 w 200643"/>
                <a:gd name="connsiteY49" fmla="*/ 122572 h 131509"/>
                <a:gd name="connsiteX50" fmla="*/ 67094 w 200643"/>
                <a:gd name="connsiteY50" fmla="*/ 122572 h 131509"/>
                <a:gd name="connsiteX51" fmla="*/ 60704 w 200643"/>
                <a:gd name="connsiteY51" fmla="*/ 128956 h 131509"/>
                <a:gd name="connsiteX52" fmla="*/ 45368 w 200643"/>
                <a:gd name="connsiteY52" fmla="*/ 128956 h 131509"/>
                <a:gd name="connsiteX53" fmla="*/ 38978 w 200643"/>
                <a:gd name="connsiteY53" fmla="*/ 122572 h 131509"/>
                <a:gd name="connsiteX54" fmla="*/ 38978 w 200643"/>
                <a:gd name="connsiteY54" fmla="*/ 85545 h 131509"/>
                <a:gd name="connsiteX55" fmla="*/ 45368 w 200643"/>
                <a:gd name="connsiteY55" fmla="*/ 79161 h 131509"/>
                <a:gd name="connsiteX56" fmla="*/ 60704 w 200643"/>
                <a:gd name="connsiteY56" fmla="*/ 79161 h 131509"/>
                <a:gd name="connsiteX57" fmla="*/ 67094 w 200643"/>
                <a:gd name="connsiteY57" fmla="*/ 85545 h 131509"/>
                <a:gd name="connsiteX58" fmla="*/ 67094 w 200643"/>
                <a:gd name="connsiteY58" fmla="*/ 122572 h 131509"/>
                <a:gd name="connsiteX59" fmla="*/ 98405 w 200643"/>
                <a:gd name="connsiteY59" fmla="*/ 122572 h 131509"/>
                <a:gd name="connsiteX60" fmla="*/ 92015 w 200643"/>
                <a:gd name="connsiteY60" fmla="*/ 128956 h 131509"/>
                <a:gd name="connsiteX61" fmla="*/ 76679 w 200643"/>
                <a:gd name="connsiteY61" fmla="*/ 128956 h 131509"/>
                <a:gd name="connsiteX62" fmla="*/ 70289 w 200643"/>
                <a:gd name="connsiteY62" fmla="*/ 122572 h 131509"/>
                <a:gd name="connsiteX63" fmla="*/ 70289 w 200643"/>
                <a:gd name="connsiteY63" fmla="*/ 68308 h 131509"/>
                <a:gd name="connsiteX64" fmla="*/ 76679 w 200643"/>
                <a:gd name="connsiteY64" fmla="*/ 61924 h 131509"/>
                <a:gd name="connsiteX65" fmla="*/ 92015 w 200643"/>
                <a:gd name="connsiteY65" fmla="*/ 61924 h 131509"/>
                <a:gd name="connsiteX66" fmla="*/ 98405 w 200643"/>
                <a:gd name="connsiteY66" fmla="*/ 68308 h 131509"/>
                <a:gd name="connsiteX67" fmla="*/ 98405 w 200643"/>
                <a:gd name="connsiteY67" fmla="*/ 122572 h 131509"/>
                <a:gd name="connsiteX68" fmla="*/ 129716 w 200643"/>
                <a:gd name="connsiteY68" fmla="*/ 122572 h 131509"/>
                <a:gd name="connsiteX69" fmla="*/ 123326 w 200643"/>
                <a:gd name="connsiteY69" fmla="*/ 128956 h 131509"/>
                <a:gd name="connsiteX70" fmla="*/ 107990 w 200643"/>
                <a:gd name="connsiteY70" fmla="*/ 128956 h 131509"/>
                <a:gd name="connsiteX71" fmla="*/ 101600 w 200643"/>
                <a:gd name="connsiteY71" fmla="*/ 122572 h 131509"/>
                <a:gd name="connsiteX72" fmla="*/ 101600 w 200643"/>
                <a:gd name="connsiteY72" fmla="*/ 80438 h 131509"/>
                <a:gd name="connsiteX73" fmla="*/ 107990 w 200643"/>
                <a:gd name="connsiteY73" fmla="*/ 74054 h 131509"/>
                <a:gd name="connsiteX74" fmla="*/ 123326 w 200643"/>
                <a:gd name="connsiteY74" fmla="*/ 74054 h 131509"/>
                <a:gd name="connsiteX75" fmla="*/ 129716 w 200643"/>
                <a:gd name="connsiteY75" fmla="*/ 80438 h 131509"/>
                <a:gd name="connsiteX76" fmla="*/ 129716 w 200643"/>
                <a:gd name="connsiteY76" fmla="*/ 122572 h 131509"/>
                <a:gd name="connsiteX77" fmla="*/ 161027 w 200643"/>
                <a:gd name="connsiteY77" fmla="*/ 122572 h 131509"/>
                <a:gd name="connsiteX78" fmla="*/ 154637 w 200643"/>
                <a:gd name="connsiteY78" fmla="*/ 128956 h 131509"/>
                <a:gd name="connsiteX79" fmla="*/ 139301 w 200643"/>
                <a:gd name="connsiteY79" fmla="*/ 128956 h 131509"/>
                <a:gd name="connsiteX80" fmla="*/ 132911 w 200643"/>
                <a:gd name="connsiteY80" fmla="*/ 122572 h 131509"/>
                <a:gd name="connsiteX81" fmla="*/ 132911 w 200643"/>
                <a:gd name="connsiteY81" fmla="*/ 67032 h 131509"/>
                <a:gd name="connsiteX82" fmla="*/ 139301 w 200643"/>
                <a:gd name="connsiteY82" fmla="*/ 60648 h 131509"/>
                <a:gd name="connsiteX83" fmla="*/ 154637 w 200643"/>
                <a:gd name="connsiteY83" fmla="*/ 60648 h 131509"/>
                <a:gd name="connsiteX84" fmla="*/ 161027 w 200643"/>
                <a:gd name="connsiteY84" fmla="*/ 67032 h 131509"/>
                <a:gd name="connsiteX85" fmla="*/ 161027 w 200643"/>
                <a:gd name="connsiteY85" fmla="*/ 122572 h 131509"/>
                <a:gd name="connsiteX86" fmla="*/ 192337 w 200643"/>
                <a:gd name="connsiteY86" fmla="*/ 122572 h 131509"/>
                <a:gd name="connsiteX87" fmla="*/ 185947 w 200643"/>
                <a:gd name="connsiteY87" fmla="*/ 128956 h 131509"/>
                <a:gd name="connsiteX88" fmla="*/ 170611 w 200643"/>
                <a:gd name="connsiteY88" fmla="*/ 128956 h 131509"/>
                <a:gd name="connsiteX89" fmla="*/ 164221 w 200643"/>
                <a:gd name="connsiteY89" fmla="*/ 122572 h 131509"/>
                <a:gd name="connsiteX90" fmla="*/ 164221 w 200643"/>
                <a:gd name="connsiteY90" fmla="*/ 46603 h 131509"/>
                <a:gd name="connsiteX91" fmla="*/ 170611 w 200643"/>
                <a:gd name="connsiteY91" fmla="*/ 40219 h 131509"/>
                <a:gd name="connsiteX92" fmla="*/ 185947 w 200643"/>
                <a:gd name="connsiteY92" fmla="*/ 40219 h 131509"/>
                <a:gd name="connsiteX93" fmla="*/ 192337 w 200643"/>
                <a:gd name="connsiteY93" fmla="*/ 46603 h 131509"/>
                <a:gd name="connsiteX94" fmla="*/ 192337 w 200643"/>
                <a:gd name="connsiteY94" fmla="*/ 122572 h 13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00643" h="131509">
                  <a:moveTo>
                    <a:pt x="184669" y="0"/>
                  </a:moveTo>
                  <a:lnTo>
                    <a:pt x="15336" y="0"/>
                  </a:lnTo>
                  <a:cubicBezTo>
                    <a:pt x="6390" y="0"/>
                    <a:pt x="0" y="7022"/>
                    <a:pt x="0" y="15960"/>
                  </a:cubicBezTo>
                  <a:lnTo>
                    <a:pt x="0" y="115550"/>
                  </a:lnTo>
                  <a:cubicBezTo>
                    <a:pt x="0" y="124488"/>
                    <a:pt x="7029" y="131510"/>
                    <a:pt x="15336" y="131510"/>
                  </a:cubicBezTo>
                  <a:lnTo>
                    <a:pt x="79874" y="131510"/>
                  </a:lnTo>
                  <a:lnTo>
                    <a:pt x="120770" y="131510"/>
                  </a:lnTo>
                  <a:lnTo>
                    <a:pt x="185308" y="131510"/>
                  </a:lnTo>
                  <a:cubicBezTo>
                    <a:pt x="194254" y="131510"/>
                    <a:pt x="200644" y="124488"/>
                    <a:pt x="200644" y="115550"/>
                  </a:cubicBezTo>
                  <a:lnTo>
                    <a:pt x="200644" y="15960"/>
                  </a:lnTo>
                  <a:cubicBezTo>
                    <a:pt x="200644" y="7022"/>
                    <a:pt x="193615" y="0"/>
                    <a:pt x="184669" y="0"/>
                  </a:cubicBezTo>
                  <a:close/>
                  <a:moveTo>
                    <a:pt x="11502" y="70224"/>
                  </a:moveTo>
                  <a:lnTo>
                    <a:pt x="89459" y="28728"/>
                  </a:lnTo>
                  <a:cubicBezTo>
                    <a:pt x="92015" y="27451"/>
                    <a:pt x="94571" y="28089"/>
                    <a:pt x="96488" y="29366"/>
                  </a:cubicBezTo>
                  <a:lnTo>
                    <a:pt x="117575" y="47241"/>
                  </a:lnTo>
                  <a:lnTo>
                    <a:pt x="168055" y="14683"/>
                  </a:lnTo>
                  <a:cubicBezTo>
                    <a:pt x="165499" y="13406"/>
                    <a:pt x="164221" y="10852"/>
                    <a:pt x="164221" y="8299"/>
                  </a:cubicBezTo>
                  <a:cubicBezTo>
                    <a:pt x="164860" y="5107"/>
                    <a:pt x="168055" y="1915"/>
                    <a:pt x="171250" y="2553"/>
                  </a:cubicBezTo>
                  <a:lnTo>
                    <a:pt x="186586" y="4468"/>
                  </a:lnTo>
                  <a:cubicBezTo>
                    <a:pt x="186586" y="4468"/>
                    <a:pt x="186586" y="4468"/>
                    <a:pt x="186586" y="4468"/>
                  </a:cubicBezTo>
                  <a:cubicBezTo>
                    <a:pt x="187225" y="4468"/>
                    <a:pt x="187864" y="5107"/>
                    <a:pt x="188503" y="5107"/>
                  </a:cubicBezTo>
                  <a:cubicBezTo>
                    <a:pt x="188503" y="5107"/>
                    <a:pt x="189142" y="5107"/>
                    <a:pt x="189142" y="5107"/>
                  </a:cubicBezTo>
                  <a:cubicBezTo>
                    <a:pt x="189781" y="5745"/>
                    <a:pt x="190420" y="6384"/>
                    <a:pt x="191059" y="7022"/>
                  </a:cubicBezTo>
                  <a:cubicBezTo>
                    <a:pt x="191059" y="7022"/>
                    <a:pt x="191059" y="7022"/>
                    <a:pt x="191059" y="7022"/>
                  </a:cubicBezTo>
                  <a:cubicBezTo>
                    <a:pt x="191059" y="7022"/>
                    <a:pt x="191059" y="7022"/>
                    <a:pt x="191059" y="7022"/>
                  </a:cubicBezTo>
                  <a:cubicBezTo>
                    <a:pt x="191059" y="7022"/>
                    <a:pt x="191059" y="7022"/>
                    <a:pt x="191059" y="7660"/>
                  </a:cubicBezTo>
                  <a:cubicBezTo>
                    <a:pt x="191698" y="8299"/>
                    <a:pt x="191698" y="8937"/>
                    <a:pt x="191698" y="9576"/>
                  </a:cubicBezTo>
                  <a:cubicBezTo>
                    <a:pt x="191698" y="9576"/>
                    <a:pt x="191698" y="10214"/>
                    <a:pt x="191698" y="10214"/>
                  </a:cubicBezTo>
                  <a:cubicBezTo>
                    <a:pt x="191698" y="10852"/>
                    <a:pt x="191698" y="11491"/>
                    <a:pt x="191698" y="12129"/>
                  </a:cubicBezTo>
                  <a:cubicBezTo>
                    <a:pt x="191698" y="12129"/>
                    <a:pt x="191698" y="12129"/>
                    <a:pt x="191698" y="12768"/>
                  </a:cubicBezTo>
                  <a:lnTo>
                    <a:pt x="186586" y="27451"/>
                  </a:lnTo>
                  <a:cubicBezTo>
                    <a:pt x="185947" y="30004"/>
                    <a:pt x="183391" y="31920"/>
                    <a:pt x="180835" y="31920"/>
                  </a:cubicBezTo>
                  <a:cubicBezTo>
                    <a:pt x="180196" y="31920"/>
                    <a:pt x="179557" y="31920"/>
                    <a:pt x="178918" y="31281"/>
                  </a:cubicBezTo>
                  <a:cubicBezTo>
                    <a:pt x="176362" y="30643"/>
                    <a:pt x="175084" y="28089"/>
                    <a:pt x="174445" y="25536"/>
                  </a:cubicBezTo>
                  <a:lnTo>
                    <a:pt x="120770" y="60648"/>
                  </a:lnTo>
                  <a:cubicBezTo>
                    <a:pt x="118214" y="61924"/>
                    <a:pt x="115019" y="61924"/>
                    <a:pt x="113102" y="60009"/>
                  </a:cubicBezTo>
                  <a:lnTo>
                    <a:pt x="92015" y="42134"/>
                  </a:lnTo>
                  <a:lnTo>
                    <a:pt x="17892" y="81715"/>
                  </a:lnTo>
                  <a:cubicBezTo>
                    <a:pt x="17253" y="82353"/>
                    <a:pt x="15975" y="82353"/>
                    <a:pt x="14697" y="82353"/>
                  </a:cubicBezTo>
                  <a:cubicBezTo>
                    <a:pt x="12141" y="82353"/>
                    <a:pt x="10224" y="81076"/>
                    <a:pt x="8946" y="79161"/>
                  </a:cubicBezTo>
                  <a:cubicBezTo>
                    <a:pt x="7029" y="75969"/>
                    <a:pt x="8307" y="72139"/>
                    <a:pt x="11502" y="70224"/>
                  </a:cubicBezTo>
                  <a:close/>
                  <a:moveTo>
                    <a:pt x="35783" y="122572"/>
                  </a:moveTo>
                  <a:cubicBezTo>
                    <a:pt x="35783" y="126403"/>
                    <a:pt x="33228" y="128956"/>
                    <a:pt x="29394" y="128956"/>
                  </a:cubicBezTo>
                  <a:lnTo>
                    <a:pt x="14058" y="128956"/>
                  </a:lnTo>
                  <a:cubicBezTo>
                    <a:pt x="10224" y="128956"/>
                    <a:pt x="7668" y="126403"/>
                    <a:pt x="7668" y="122572"/>
                  </a:cubicBezTo>
                  <a:lnTo>
                    <a:pt x="7668" y="102144"/>
                  </a:lnTo>
                  <a:cubicBezTo>
                    <a:pt x="7668" y="98313"/>
                    <a:pt x="10224" y="95760"/>
                    <a:pt x="14058" y="95760"/>
                  </a:cubicBezTo>
                  <a:lnTo>
                    <a:pt x="29394" y="95760"/>
                  </a:lnTo>
                  <a:cubicBezTo>
                    <a:pt x="33228" y="95760"/>
                    <a:pt x="35783" y="98313"/>
                    <a:pt x="35783" y="102144"/>
                  </a:cubicBezTo>
                  <a:lnTo>
                    <a:pt x="35783" y="122572"/>
                  </a:lnTo>
                  <a:close/>
                  <a:moveTo>
                    <a:pt x="67094" y="122572"/>
                  </a:moveTo>
                  <a:cubicBezTo>
                    <a:pt x="67094" y="126403"/>
                    <a:pt x="64538" y="128956"/>
                    <a:pt x="60704" y="128956"/>
                  </a:cubicBezTo>
                  <a:lnTo>
                    <a:pt x="45368" y="128956"/>
                  </a:lnTo>
                  <a:cubicBezTo>
                    <a:pt x="41535" y="128956"/>
                    <a:pt x="38978" y="126403"/>
                    <a:pt x="38978" y="122572"/>
                  </a:cubicBezTo>
                  <a:lnTo>
                    <a:pt x="38978" y="85545"/>
                  </a:lnTo>
                  <a:cubicBezTo>
                    <a:pt x="38978" y="81715"/>
                    <a:pt x="41535" y="79161"/>
                    <a:pt x="45368" y="79161"/>
                  </a:cubicBezTo>
                  <a:lnTo>
                    <a:pt x="60704" y="79161"/>
                  </a:lnTo>
                  <a:cubicBezTo>
                    <a:pt x="64538" y="79161"/>
                    <a:pt x="67094" y="81715"/>
                    <a:pt x="67094" y="85545"/>
                  </a:cubicBezTo>
                  <a:lnTo>
                    <a:pt x="67094" y="122572"/>
                  </a:lnTo>
                  <a:close/>
                  <a:moveTo>
                    <a:pt x="98405" y="122572"/>
                  </a:moveTo>
                  <a:cubicBezTo>
                    <a:pt x="98405" y="126403"/>
                    <a:pt x="95849" y="128956"/>
                    <a:pt x="92015" y="128956"/>
                  </a:cubicBezTo>
                  <a:lnTo>
                    <a:pt x="76679" y="128956"/>
                  </a:lnTo>
                  <a:cubicBezTo>
                    <a:pt x="72845" y="128956"/>
                    <a:pt x="70289" y="126403"/>
                    <a:pt x="70289" y="122572"/>
                  </a:cubicBezTo>
                  <a:lnTo>
                    <a:pt x="70289" y="68308"/>
                  </a:lnTo>
                  <a:cubicBezTo>
                    <a:pt x="70289" y="64478"/>
                    <a:pt x="72845" y="61924"/>
                    <a:pt x="76679" y="61924"/>
                  </a:cubicBezTo>
                  <a:lnTo>
                    <a:pt x="92015" y="61924"/>
                  </a:lnTo>
                  <a:cubicBezTo>
                    <a:pt x="95849" y="61924"/>
                    <a:pt x="98405" y="64478"/>
                    <a:pt x="98405" y="68308"/>
                  </a:cubicBezTo>
                  <a:lnTo>
                    <a:pt x="98405" y="122572"/>
                  </a:lnTo>
                  <a:close/>
                  <a:moveTo>
                    <a:pt x="129716" y="122572"/>
                  </a:moveTo>
                  <a:cubicBezTo>
                    <a:pt x="129716" y="126403"/>
                    <a:pt x="127160" y="128956"/>
                    <a:pt x="123326" y="128956"/>
                  </a:cubicBezTo>
                  <a:lnTo>
                    <a:pt x="107990" y="128956"/>
                  </a:lnTo>
                  <a:cubicBezTo>
                    <a:pt x="104156" y="128956"/>
                    <a:pt x="101600" y="126403"/>
                    <a:pt x="101600" y="122572"/>
                  </a:cubicBezTo>
                  <a:lnTo>
                    <a:pt x="101600" y="80438"/>
                  </a:lnTo>
                  <a:cubicBezTo>
                    <a:pt x="101600" y="76608"/>
                    <a:pt x="104156" y="74054"/>
                    <a:pt x="107990" y="74054"/>
                  </a:cubicBezTo>
                  <a:lnTo>
                    <a:pt x="123326" y="74054"/>
                  </a:lnTo>
                  <a:cubicBezTo>
                    <a:pt x="127160" y="74054"/>
                    <a:pt x="129716" y="76608"/>
                    <a:pt x="129716" y="80438"/>
                  </a:cubicBezTo>
                  <a:lnTo>
                    <a:pt x="129716" y="122572"/>
                  </a:lnTo>
                  <a:close/>
                  <a:moveTo>
                    <a:pt x="161027" y="122572"/>
                  </a:moveTo>
                  <a:cubicBezTo>
                    <a:pt x="161027" y="126403"/>
                    <a:pt x="158470" y="128956"/>
                    <a:pt x="154637" y="128956"/>
                  </a:cubicBezTo>
                  <a:lnTo>
                    <a:pt x="139301" y="128956"/>
                  </a:lnTo>
                  <a:cubicBezTo>
                    <a:pt x="135467" y="128956"/>
                    <a:pt x="132911" y="126403"/>
                    <a:pt x="132911" y="122572"/>
                  </a:cubicBezTo>
                  <a:lnTo>
                    <a:pt x="132911" y="67032"/>
                  </a:lnTo>
                  <a:cubicBezTo>
                    <a:pt x="132911" y="63201"/>
                    <a:pt x="135467" y="60648"/>
                    <a:pt x="139301" y="60648"/>
                  </a:cubicBezTo>
                  <a:lnTo>
                    <a:pt x="154637" y="60648"/>
                  </a:lnTo>
                  <a:cubicBezTo>
                    <a:pt x="158470" y="60648"/>
                    <a:pt x="161027" y="63201"/>
                    <a:pt x="161027" y="67032"/>
                  </a:cubicBezTo>
                  <a:lnTo>
                    <a:pt x="161027" y="122572"/>
                  </a:lnTo>
                  <a:close/>
                  <a:moveTo>
                    <a:pt x="192337" y="122572"/>
                  </a:moveTo>
                  <a:cubicBezTo>
                    <a:pt x="192337" y="126403"/>
                    <a:pt x="189781" y="128956"/>
                    <a:pt x="185947" y="128956"/>
                  </a:cubicBezTo>
                  <a:lnTo>
                    <a:pt x="170611" y="128956"/>
                  </a:lnTo>
                  <a:cubicBezTo>
                    <a:pt x="166777" y="128956"/>
                    <a:pt x="164221" y="126403"/>
                    <a:pt x="164221" y="122572"/>
                  </a:cubicBezTo>
                  <a:lnTo>
                    <a:pt x="164221" y="46603"/>
                  </a:lnTo>
                  <a:cubicBezTo>
                    <a:pt x="164221" y="42772"/>
                    <a:pt x="166777" y="40219"/>
                    <a:pt x="170611" y="40219"/>
                  </a:cubicBezTo>
                  <a:lnTo>
                    <a:pt x="185947" y="40219"/>
                  </a:lnTo>
                  <a:cubicBezTo>
                    <a:pt x="189781" y="40219"/>
                    <a:pt x="192337" y="42772"/>
                    <a:pt x="192337" y="46603"/>
                  </a:cubicBezTo>
                  <a:lnTo>
                    <a:pt x="192337" y="122572"/>
                  </a:lnTo>
                  <a:close/>
                </a:path>
              </a:pathLst>
            </a:custGeom>
            <a:grpFill/>
            <a:ln w="6390" cap="flat">
              <a:noFill/>
              <a:prstDash val="solid"/>
              <a:miter/>
            </a:ln>
          </p:spPr>
          <p:txBody>
            <a:bodyPr rtlCol="0" anchor="ctr"/>
            <a:lstStyle/>
            <a:p>
              <a:endParaRPr lang="en-US" sz="1200"/>
            </a:p>
          </p:txBody>
        </p:sp>
        <p:sp>
          <p:nvSpPr>
            <p:cNvPr id="68" name="Graphic 4">
              <a:extLst>
                <a:ext uri="{FF2B5EF4-FFF2-40B4-BE49-F238E27FC236}">
                  <a16:creationId xmlns:a16="http://schemas.microsoft.com/office/drawing/2014/main" id="{65BF173F-8BD4-4775-B833-BC7061D28C3C}"/>
                </a:ext>
              </a:extLst>
            </p:cNvPr>
            <p:cNvSpPr/>
            <p:nvPr/>
          </p:nvSpPr>
          <p:spPr>
            <a:xfrm>
              <a:off x="5099808" y="3824168"/>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1 w 361670"/>
                <a:gd name="connsiteY3" fmla="*/ 180667 h 361333"/>
                <a:gd name="connsiteX4" fmla="*/ 180836 w 361670"/>
                <a:gd name="connsiteY4" fmla="*/ 0 h 361333"/>
                <a:gd name="connsiteX5" fmla="*/ 293937 w 361670"/>
                <a:gd name="connsiteY5" fmla="*/ 210671 h 361333"/>
                <a:gd name="connsiteX6" fmla="*/ 265822 w 361670"/>
                <a:gd name="connsiteY6" fmla="*/ 239399 h 361333"/>
                <a:gd name="connsiteX7" fmla="*/ 208951 w 361670"/>
                <a:gd name="connsiteY7" fmla="*/ 239399 h 361333"/>
                <a:gd name="connsiteX8" fmla="*/ 210868 w 361670"/>
                <a:gd name="connsiteY8" fmla="*/ 253444 h 361333"/>
                <a:gd name="connsiteX9" fmla="*/ 226204 w 361670"/>
                <a:gd name="connsiteY9" fmla="*/ 253444 h 361333"/>
                <a:gd name="connsiteX10" fmla="*/ 238984 w 361670"/>
                <a:gd name="connsiteY10" fmla="*/ 266212 h 361333"/>
                <a:gd name="connsiteX11" fmla="*/ 226204 w 361670"/>
                <a:gd name="connsiteY11" fmla="*/ 278980 h 361333"/>
                <a:gd name="connsiteX12" fmla="*/ 136745 w 361670"/>
                <a:gd name="connsiteY12" fmla="*/ 278980 h 361333"/>
                <a:gd name="connsiteX13" fmla="*/ 123965 w 361670"/>
                <a:gd name="connsiteY13" fmla="*/ 266212 h 361333"/>
                <a:gd name="connsiteX14" fmla="*/ 136745 w 361670"/>
                <a:gd name="connsiteY14" fmla="*/ 253444 h 361333"/>
                <a:gd name="connsiteX15" fmla="*/ 152081 w 361670"/>
                <a:gd name="connsiteY15" fmla="*/ 253444 h 361333"/>
                <a:gd name="connsiteX16" fmla="*/ 153998 w 361670"/>
                <a:gd name="connsiteY16" fmla="*/ 239399 h 361333"/>
                <a:gd name="connsiteX17" fmla="*/ 97127 w 361670"/>
                <a:gd name="connsiteY17" fmla="*/ 239399 h 361333"/>
                <a:gd name="connsiteX18" fmla="*/ 69012 w 361670"/>
                <a:gd name="connsiteY18" fmla="*/ 210671 h 361333"/>
                <a:gd name="connsiteX19" fmla="*/ 69012 w 361670"/>
                <a:gd name="connsiteY19" fmla="*/ 111081 h 361333"/>
                <a:gd name="connsiteX20" fmla="*/ 97127 w 361670"/>
                <a:gd name="connsiteY20" fmla="*/ 82353 h 361333"/>
                <a:gd name="connsiteX21" fmla="*/ 266460 w 361670"/>
                <a:gd name="connsiteY21" fmla="*/ 82353 h 361333"/>
                <a:gd name="connsiteX22" fmla="*/ 294576 w 361670"/>
                <a:gd name="connsiteY22" fmla="*/ 111081 h 361333"/>
                <a:gd name="connsiteX23" fmla="*/ 294576 w 361670"/>
                <a:gd name="connsiteY23" fmla="*/ 210671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1670" h="361333">
                  <a:moveTo>
                    <a:pt x="180836" y="0"/>
                  </a:moveTo>
                  <a:cubicBezTo>
                    <a:pt x="80513" y="0"/>
                    <a:pt x="0" y="81076"/>
                    <a:pt x="0" y="180667"/>
                  </a:cubicBezTo>
                  <a:cubicBezTo>
                    <a:pt x="0" y="280895"/>
                    <a:pt x="81152" y="361333"/>
                    <a:pt x="180836" y="361333"/>
                  </a:cubicBezTo>
                  <a:cubicBezTo>
                    <a:pt x="281157" y="361333"/>
                    <a:pt x="361671" y="280257"/>
                    <a:pt x="361671" y="180667"/>
                  </a:cubicBezTo>
                  <a:cubicBezTo>
                    <a:pt x="361671" y="81076"/>
                    <a:pt x="280518" y="0"/>
                    <a:pt x="180836" y="0"/>
                  </a:cubicBezTo>
                  <a:close/>
                  <a:moveTo>
                    <a:pt x="293937" y="210671"/>
                  </a:moveTo>
                  <a:cubicBezTo>
                    <a:pt x="293937" y="226631"/>
                    <a:pt x="281157" y="239399"/>
                    <a:pt x="265822" y="239399"/>
                  </a:cubicBezTo>
                  <a:lnTo>
                    <a:pt x="208951" y="239399"/>
                  </a:lnTo>
                  <a:lnTo>
                    <a:pt x="210868" y="253444"/>
                  </a:lnTo>
                  <a:lnTo>
                    <a:pt x="226204" y="253444"/>
                  </a:lnTo>
                  <a:cubicBezTo>
                    <a:pt x="233233" y="253444"/>
                    <a:pt x="238984" y="259190"/>
                    <a:pt x="238984" y="266212"/>
                  </a:cubicBezTo>
                  <a:cubicBezTo>
                    <a:pt x="238984" y="273234"/>
                    <a:pt x="233233" y="278980"/>
                    <a:pt x="226204" y="278980"/>
                  </a:cubicBezTo>
                  <a:lnTo>
                    <a:pt x="136745" y="278980"/>
                  </a:lnTo>
                  <a:cubicBezTo>
                    <a:pt x="129716" y="278980"/>
                    <a:pt x="123965" y="273234"/>
                    <a:pt x="123965" y="266212"/>
                  </a:cubicBezTo>
                  <a:cubicBezTo>
                    <a:pt x="123965" y="259190"/>
                    <a:pt x="129716" y="253444"/>
                    <a:pt x="136745" y="253444"/>
                  </a:cubicBezTo>
                  <a:lnTo>
                    <a:pt x="152081" y="253444"/>
                  </a:lnTo>
                  <a:lnTo>
                    <a:pt x="153998" y="239399"/>
                  </a:lnTo>
                  <a:lnTo>
                    <a:pt x="97127" y="239399"/>
                  </a:lnTo>
                  <a:cubicBezTo>
                    <a:pt x="81152" y="239399"/>
                    <a:pt x="69012" y="226631"/>
                    <a:pt x="69012" y="210671"/>
                  </a:cubicBezTo>
                  <a:lnTo>
                    <a:pt x="69012" y="111081"/>
                  </a:lnTo>
                  <a:cubicBezTo>
                    <a:pt x="69012" y="95121"/>
                    <a:pt x="81792" y="82353"/>
                    <a:pt x="97127" y="82353"/>
                  </a:cubicBezTo>
                  <a:lnTo>
                    <a:pt x="266460" y="82353"/>
                  </a:lnTo>
                  <a:cubicBezTo>
                    <a:pt x="282435" y="82353"/>
                    <a:pt x="294576" y="95121"/>
                    <a:pt x="294576" y="111081"/>
                  </a:cubicBezTo>
                  <a:lnTo>
                    <a:pt x="294576" y="210671"/>
                  </a:lnTo>
                  <a:close/>
                </a:path>
              </a:pathLst>
            </a:custGeom>
            <a:grpFill/>
            <a:ln w="6390" cap="flat">
              <a:noFill/>
              <a:prstDash val="solid"/>
              <a:miter/>
            </a:ln>
          </p:spPr>
          <p:txBody>
            <a:bodyPr rtlCol="0" anchor="ctr"/>
            <a:lstStyle/>
            <a:p>
              <a:endParaRPr lang="en-US" sz="1200"/>
            </a:p>
          </p:txBody>
        </p:sp>
      </p:grpSp>
      <p:grpSp>
        <p:nvGrpSpPr>
          <p:cNvPr id="69" name="Graphic 4">
            <a:extLst>
              <a:ext uri="{FF2B5EF4-FFF2-40B4-BE49-F238E27FC236}">
                <a16:creationId xmlns:a16="http://schemas.microsoft.com/office/drawing/2014/main" id="{6D94BBF8-A25D-442F-84DD-30D21EE5D22D}"/>
              </a:ext>
            </a:extLst>
          </p:cNvPr>
          <p:cNvGrpSpPr/>
          <p:nvPr/>
        </p:nvGrpSpPr>
        <p:grpSpPr>
          <a:xfrm>
            <a:off x="3553851" y="5983019"/>
            <a:ext cx="362309" cy="362450"/>
            <a:chOff x="9279466" y="1402244"/>
            <a:chExt cx="362309" cy="362450"/>
          </a:xfrm>
          <a:solidFill>
            <a:schemeClr val="tx1">
              <a:lumMod val="65000"/>
              <a:lumOff val="35000"/>
            </a:schemeClr>
          </a:solidFill>
        </p:grpSpPr>
        <p:sp>
          <p:nvSpPr>
            <p:cNvPr id="70" name="Graphic 4">
              <a:extLst>
                <a:ext uri="{FF2B5EF4-FFF2-40B4-BE49-F238E27FC236}">
                  <a16:creationId xmlns:a16="http://schemas.microsoft.com/office/drawing/2014/main" id="{8B4E874F-183E-4573-87AE-7D1571EC4B11}"/>
                </a:ext>
              </a:extLst>
            </p:cNvPr>
            <p:cNvSpPr/>
            <p:nvPr/>
          </p:nvSpPr>
          <p:spPr>
            <a:xfrm rot="-2700000">
              <a:off x="9402917" y="1531993"/>
              <a:ext cx="105432" cy="54901"/>
            </a:xfrm>
            <a:custGeom>
              <a:avLst/>
              <a:gdLst>
                <a:gd name="connsiteX0" fmla="*/ 0 w 105432"/>
                <a:gd name="connsiteY0" fmla="*/ 0 h 54901"/>
                <a:gd name="connsiteX1" fmla="*/ 105433 w 105432"/>
                <a:gd name="connsiteY1" fmla="*/ 0 h 54901"/>
                <a:gd name="connsiteX2" fmla="*/ 105433 w 105432"/>
                <a:gd name="connsiteY2" fmla="*/ 54902 h 54901"/>
                <a:gd name="connsiteX3" fmla="*/ 0 w 105432"/>
                <a:gd name="connsiteY3" fmla="*/ 54902 h 54901"/>
              </a:gdLst>
              <a:ahLst/>
              <a:cxnLst>
                <a:cxn ang="0">
                  <a:pos x="connsiteX0" y="connsiteY0"/>
                </a:cxn>
                <a:cxn ang="0">
                  <a:pos x="connsiteX1" y="connsiteY1"/>
                </a:cxn>
                <a:cxn ang="0">
                  <a:pos x="connsiteX2" y="connsiteY2"/>
                </a:cxn>
                <a:cxn ang="0">
                  <a:pos x="connsiteX3" y="connsiteY3"/>
                </a:cxn>
              </a:cxnLst>
              <a:rect l="l" t="t" r="r" b="b"/>
              <a:pathLst>
                <a:path w="105432" h="54901">
                  <a:moveTo>
                    <a:pt x="0" y="0"/>
                  </a:moveTo>
                  <a:lnTo>
                    <a:pt x="105433" y="0"/>
                  </a:lnTo>
                  <a:lnTo>
                    <a:pt x="105433" y="54902"/>
                  </a:lnTo>
                  <a:lnTo>
                    <a:pt x="0" y="54902"/>
                  </a:ln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71" name="Graphic 4">
              <a:extLst>
                <a:ext uri="{FF2B5EF4-FFF2-40B4-BE49-F238E27FC236}">
                  <a16:creationId xmlns:a16="http://schemas.microsoft.com/office/drawing/2014/main" id="{797B2DD0-4EC3-4028-9A69-A8FEBE1F6609}"/>
                </a:ext>
              </a:extLst>
            </p:cNvPr>
            <p:cNvSpPr/>
            <p:nvPr/>
          </p:nvSpPr>
          <p:spPr>
            <a:xfrm>
              <a:off x="9279466" y="1402244"/>
              <a:ext cx="362309" cy="362450"/>
            </a:xfrm>
            <a:custGeom>
              <a:avLst/>
              <a:gdLst>
                <a:gd name="connsiteX0" fmla="*/ 286270 w 362309"/>
                <a:gd name="connsiteY0" fmla="*/ 268606 h 362450"/>
                <a:gd name="connsiteX1" fmla="*/ 281797 w 362309"/>
                <a:gd name="connsiteY1" fmla="*/ 270521 h 362450"/>
                <a:gd name="connsiteX2" fmla="*/ 277323 w 362309"/>
                <a:gd name="connsiteY2" fmla="*/ 268606 h 362450"/>
                <a:gd name="connsiteX3" fmla="*/ 199367 w 362309"/>
                <a:gd name="connsiteY3" fmla="*/ 190083 h 362450"/>
                <a:gd name="connsiteX4" fmla="*/ 166778 w 362309"/>
                <a:gd name="connsiteY4" fmla="*/ 222641 h 362450"/>
                <a:gd name="connsiteX5" fmla="*/ 168056 w 362309"/>
                <a:gd name="connsiteY5" fmla="*/ 223918 h 362450"/>
                <a:gd name="connsiteX6" fmla="*/ 168056 w 362309"/>
                <a:gd name="connsiteY6" fmla="*/ 232856 h 362450"/>
                <a:gd name="connsiteX7" fmla="*/ 159110 w 362309"/>
                <a:gd name="connsiteY7" fmla="*/ 232856 h 362450"/>
                <a:gd name="connsiteX8" fmla="*/ 159110 w 362309"/>
                <a:gd name="connsiteY8" fmla="*/ 232856 h 362450"/>
                <a:gd name="connsiteX9" fmla="*/ 153358 w 362309"/>
                <a:gd name="connsiteY9" fmla="*/ 227110 h 362450"/>
                <a:gd name="connsiteX10" fmla="*/ 105434 w 362309"/>
                <a:gd name="connsiteY10" fmla="*/ 179230 h 362450"/>
                <a:gd name="connsiteX11" fmla="*/ 105434 w 362309"/>
                <a:gd name="connsiteY11" fmla="*/ 179230 h 362450"/>
                <a:gd name="connsiteX12" fmla="*/ 99684 w 362309"/>
                <a:gd name="connsiteY12" fmla="*/ 173485 h 362450"/>
                <a:gd name="connsiteX13" fmla="*/ 99684 w 362309"/>
                <a:gd name="connsiteY13" fmla="*/ 164547 h 362450"/>
                <a:gd name="connsiteX14" fmla="*/ 99684 w 362309"/>
                <a:gd name="connsiteY14" fmla="*/ 164547 h 362450"/>
                <a:gd name="connsiteX15" fmla="*/ 108629 w 362309"/>
                <a:gd name="connsiteY15" fmla="*/ 164547 h 362450"/>
                <a:gd name="connsiteX16" fmla="*/ 109907 w 362309"/>
                <a:gd name="connsiteY16" fmla="*/ 165824 h 362450"/>
                <a:gd name="connsiteX17" fmla="*/ 184669 w 362309"/>
                <a:gd name="connsiteY17" fmla="*/ 91770 h 362450"/>
                <a:gd name="connsiteX18" fmla="*/ 183392 w 362309"/>
                <a:gd name="connsiteY18" fmla="*/ 90493 h 362450"/>
                <a:gd name="connsiteX19" fmla="*/ 183392 w 362309"/>
                <a:gd name="connsiteY19" fmla="*/ 81555 h 362450"/>
                <a:gd name="connsiteX20" fmla="*/ 183392 w 362309"/>
                <a:gd name="connsiteY20" fmla="*/ 81555 h 362450"/>
                <a:gd name="connsiteX21" fmla="*/ 192338 w 362309"/>
                <a:gd name="connsiteY21" fmla="*/ 81555 h 362450"/>
                <a:gd name="connsiteX22" fmla="*/ 198088 w 362309"/>
                <a:gd name="connsiteY22" fmla="*/ 87301 h 362450"/>
                <a:gd name="connsiteX23" fmla="*/ 198088 w 362309"/>
                <a:gd name="connsiteY23" fmla="*/ 87301 h 362450"/>
                <a:gd name="connsiteX24" fmla="*/ 246013 w 362309"/>
                <a:gd name="connsiteY24" fmla="*/ 135181 h 362450"/>
                <a:gd name="connsiteX25" fmla="*/ 246013 w 362309"/>
                <a:gd name="connsiteY25" fmla="*/ 135181 h 362450"/>
                <a:gd name="connsiteX26" fmla="*/ 251764 w 362309"/>
                <a:gd name="connsiteY26" fmla="*/ 140926 h 362450"/>
                <a:gd name="connsiteX27" fmla="*/ 251764 w 362309"/>
                <a:gd name="connsiteY27" fmla="*/ 149864 h 362450"/>
                <a:gd name="connsiteX28" fmla="*/ 242818 w 362309"/>
                <a:gd name="connsiteY28" fmla="*/ 149864 h 362450"/>
                <a:gd name="connsiteX29" fmla="*/ 241540 w 362309"/>
                <a:gd name="connsiteY29" fmla="*/ 148587 h 362450"/>
                <a:gd name="connsiteX30" fmla="*/ 208951 w 362309"/>
                <a:gd name="connsiteY30" fmla="*/ 181145 h 362450"/>
                <a:gd name="connsiteX31" fmla="*/ 286908 w 362309"/>
                <a:gd name="connsiteY31" fmla="*/ 259669 h 362450"/>
                <a:gd name="connsiteX32" fmla="*/ 286270 w 362309"/>
                <a:gd name="connsiteY32" fmla="*/ 268606 h 362450"/>
                <a:gd name="connsiteX33" fmla="*/ 286270 w 362309"/>
                <a:gd name="connsiteY33" fmla="*/ 268606 h 362450"/>
                <a:gd name="connsiteX34" fmla="*/ 180836 w 362309"/>
                <a:gd name="connsiteY34" fmla="*/ 270521 h 362450"/>
                <a:gd name="connsiteX35" fmla="*/ 79874 w 362309"/>
                <a:gd name="connsiteY35" fmla="*/ 270521 h 362450"/>
                <a:gd name="connsiteX36" fmla="*/ 73484 w 362309"/>
                <a:gd name="connsiteY36" fmla="*/ 264137 h 362450"/>
                <a:gd name="connsiteX37" fmla="*/ 79874 w 362309"/>
                <a:gd name="connsiteY37" fmla="*/ 257753 h 362450"/>
                <a:gd name="connsiteX38" fmla="*/ 180836 w 362309"/>
                <a:gd name="connsiteY38" fmla="*/ 257753 h 362450"/>
                <a:gd name="connsiteX39" fmla="*/ 187225 w 362309"/>
                <a:gd name="connsiteY39" fmla="*/ 264137 h 362450"/>
                <a:gd name="connsiteX40" fmla="*/ 180836 w 362309"/>
                <a:gd name="connsiteY40" fmla="*/ 270521 h 362450"/>
                <a:gd name="connsiteX41" fmla="*/ 180836 w 362309"/>
                <a:gd name="connsiteY41" fmla="*/ 479 h 362450"/>
                <a:gd name="connsiteX42" fmla="*/ 0 w 362309"/>
                <a:gd name="connsiteY42" fmla="*/ 181784 h 362450"/>
                <a:gd name="connsiteX43" fmla="*/ 181474 w 362309"/>
                <a:gd name="connsiteY43" fmla="*/ 362451 h 362450"/>
                <a:gd name="connsiteX44" fmla="*/ 362310 w 362309"/>
                <a:gd name="connsiteY44" fmla="*/ 181145 h 362450"/>
                <a:gd name="connsiteX45" fmla="*/ 362310 w 362309"/>
                <a:gd name="connsiteY45" fmla="*/ 181145 h 362450"/>
                <a:gd name="connsiteX46" fmla="*/ 180836 w 362309"/>
                <a:gd name="connsiteY46" fmla="*/ 479 h 362450"/>
                <a:gd name="connsiteX47" fmla="*/ 180836 w 362309"/>
                <a:gd name="connsiteY47" fmla="*/ 479 h 3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62309" h="362450">
                  <a:moveTo>
                    <a:pt x="286270" y="268606"/>
                  </a:moveTo>
                  <a:cubicBezTo>
                    <a:pt x="284992" y="269883"/>
                    <a:pt x="283713" y="270521"/>
                    <a:pt x="281797" y="270521"/>
                  </a:cubicBezTo>
                  <a:cubicBezTo>
                    <a:pt x="279880" y="270521"/>
                    <a:pt x="278602" y="269883"/>
                    <a:pt x="277323" y="268606"/>
                  </a:cubicBezTo>
                  <a:lnTo>
                    <a:pt x="199367" y="190083"/>
                  </a:lnTo>
                  <a:lnTo>
                    <a:pt x="166778" y="222641"/>
                  </a:lnTo>
                  <a:lnTo>
                    <a:pt x="168056" y="223918"/>
                  </a:lnTo>
                  <a:cubicBezTo>
                    <a:pt x="170612" y="226472"/>
                    <a:pt x="170612" y="230302"/>
                    <a:pt x="168056" y="232856"/>
                  </a:cubicBezTo>
                  <a:cubicBezTo>
                    <a:pt x="165500" y="235409"/>
                    <a:pt x="161666" y="235409"/>
                    <a:pt x="159110" y="232856"/>
                  </a:cubicBezTo>
                  <a:lnTo>
                    <a:pt x="159110" y="232856"/>
                  </a:lnTo>
                  <a:lnTo>
                    <a:pt x="153358" y="227110"/>
                  </a:lnTo>
                  <a:lnTo>
                    <a:pt x="105434" y="179230"/>
                  </a:lnTo>
                  <a:lnTo>
                    <a:pt x="105434" y="179230"/>
                  </a:lnTo>
                  <a:lnTo>
                    <a:pt x="99684" y="173485"/>
                  </a:lnTo>
                  <a:cubicBezTo>
                    <a:pt x="97128" y="170931"/>
                    <a:pt x="97128" y="167101"/>
                    <a:pt x="99684" y="164547"/>
                  </a:cubicBezTo>
                  <a:cubicBezTo>
                    <a:pt x="99684" y="164547"/>
                    <a:pt x="99684" y="164547"/>
                    <a:pt x="99684" y="164547"/>
                  </a:cubicBezTo>
                  <a:cubicBezTo>
                    <a:pt x="102239" y="161994"/>
                    <a:pt x="106074" y="161994"/>
                    <a:pt x="108629" y="164547"/>
                  </a:cubicBezTo>
                  <a:lnTo>
                    <a:pt x="109907" y="165824"/>
                  </a:lnTo>
                  <a:lnTo>
                    <a:pt x="184669" y="91770"/>
                  </a:lnTo>
                  <a:lnTo>
                    <a:pt x="183392" y="90493"/>
                  </a:lnTo>
                  <a:cubicBezTo>
                    <a:pt x="180836" y="87939"/>
                    <a:pt x="180836" y="84109"/>
                    <a:pt x="183392" y="81555"/>
                  </a:cubicBezTo>
                  <a:cubicBezTo>
                    <a:pt x="183392" y="81555"/>
                    <a:pt x="183392" y="81555"/>
                    <a:pt x="183392" y="81555"/>
                  </a:cubicBezTo>
                  <a:cubicBezTo>
                    <a:pt x="185948" y="79002"/>
                    <a:pt x="189782" y="79002"/>
                    <a:pt x="192338" y="81555"/>
                  </a:cubicBezTo>
                  <a:lnTo>
                    <a:pt x="198088" y="87301"/>
                  </a:lnTo>
                  <a:lnTo>
                    <a:pt x="198088" y="87301"/>
                  </a:lnTo>
                  <a:lnTo>
                    <a:pt x="246013" y="135181"/>
                  </a:lnTo>
                  <a:lnTo>
                    <a:pt x="246013" y="135181"/>
                  </a:lnTo>
                  <a:lnTo>
                    <a:pt x="251764" y="140926"/>
                  </a:lnTo>
                  <a:cubicBezTo>
                    <a:pt x="254320" y="143480"/>
                    <a:pt x="254320" y="147310"/>
                    <a:pt x="251764" y="149864"/>
                  </a:cubicBezTo>
                  <a:cubicBezTo>
                    <a:pt x="249208" y="152418"/>
                    <a:pt x="245374" y="152418"/>
                    <a:pt x="242818" y="149864"/>
                  </a:cubicBezTo>
                  <a:lnTo>
                    <a:pt x="241540" y="148587"/>
                  </a:lnTo>
                  <a:lnTo>
                    <a:pt x="208951" y="181145"/>
                  </a:lnTo>
                  <a:lnTo>
                    <a:pt x="286908" y="259669"/>
                  </a:lnTo>
                  <a:cubicBezTo>
                    <a:pt x="288826" y="262222"/>
                    <a:pt x="288826" y="266053"/>
                    <a:pt x="286270" y="268606"/>
                  </a:cubicBezTo>
                  <a:cubicBezTo>
                    <a:pt x="286270" y="268606"/>
                    <a:pt x="286270" y="268606"/>
                    <a:pt x="286270" y="268606"/>
                  </a:cubicBezTo>
                  <a:moveTo>
                    <a:pt x="180836" y="270521"/>
                  </a:moveTo>
                  <a:lnTo>
                    <a:pt x="79874" y="270521"/>
                  </a:lnTo>
                  <a:cubicBezTo>
                    <a:pt x="76040" y="270521"/>
                    <a:pt x="73484" y="267968"/>
                    <a:pt x="73484" y="264137"/>
                  </a:cubicBezTo>
                  <a:cubicBezTo>
                    <a:pt x="73484" y="260307"/>
                    <a:pt x="76040" y="257753"/>
                    <a:pt x="79874" y="257753"/>
                  </a:cubicBezTo>
                  <a:lnTo>
                    <a:pt x="180836" y="257753"/>
                  </a:lnTo>
                  <a:cubicBezTo>
                    <a:pt x="184669" y="257753"/>
                    <a:pt x="187225" y="260307"/>
                    <a:pt x="187225" y="264137"/>
                  </a:cubicBezTo>
                  <a:cubicBezTo>
                    <a:pt x="187225" y="267968"/>
                    <a:pt x="184031" y="270521"/>
                    <a:pt x="180836" y="270521"/>
                  </a:cubicBezTo>
                  <a:moveTo>
                    <a:pt x="180836" y="479"/>
                  </a:moveTo>
                  <a:cubicBezTo>
                    <a:pt x="80514" y="479"/>
                    <a:pt x="0" y="81555"/>
                    <a:pt x="0" y="181784"/>
                  </a:cubicBezTo>
                  <a:cubicBezTo>
                    <a:pt x="0" y="282013"/>
                    <a:pt x="81153" y="362451"/>
                    <a:pt x="181474" y="362451"/>
                  </a:cubicBezTo>
                  <a:cubicBezTo>
                    <a:pt x="281797" y="362451"/>
                    <a:pt x="362310" y="281374"/>
                    <a:pt x="362310" y="181145"/>
                  </a:cubicBezTo>
                  <a:cubicBezTo>
                    <a:pt x="362310" y="181145"/>
                    <a:pt x="362310" y="181145"/>
                    <a:pt x="362310" y="181145"/>
                  </a:cubicBezTo>
                  <a:cubicBezTo>
                    <a:pt x="361671" y="80917"/>
                    <a:pt x="280518" y="-160"/>
                    <a:pt x="180836" y="479"/>
                  </a:cubicBezTo>
                  <a:cubicBezTo>
                    <a:pt x="180836" y="-160"/>
                    <a:pt x="180836" y="-160"/>
                    <a:pt x="180836" y="479"/>
                  </a:cubicBezTo>
                </a:path>
              </a:pathLst>
            </a:custGeom>
            <a:grpFill/>
            <a:ln w="6390" cap="flat">
              <a:noFill/>
              <a:prstDash val="solid"/>
              <a:miter/>
            </a:ln>
          </p:spPr>
          <p:txBody>
            <a:bodyPr rtlCol="0" anchor="ctr"/>
            <a:lstStyle/>
            <a:p>
              <a:endParaRPr lang="en-US" sz="1200">
                <a:solidFill>
                  <a:schemeClr val="bg1">
                    <a:lumMod val="75000"/>
                  </a:schemeClr>
                </a:solidFill>
              </a:endParaRPr>
            </a:p>
          </p:txBody>
        </p:sp>
      </p:grpSp>
      <p:grpSp>
        <p:nvGrpSpPr>
          <p:cNvPr id="72" name="Graphic 4">
            <a:extLst>
              <a:ext uri="{FF2B5EF4-FFF2-40B4-BE49-F238E27FC236}">
                <a16:creationId xmlns:a16="http://schemas.microsoft.com/office/drawing/2014/main" id="{64BF05AB-0FEB-4236-9966-D3F2F71758B3}"/>
              </a:ext>
            </a:extLst>
          </p:cNvPr>
          <p:cNvGrpSpPr/>
          <p:nvPr/>
        </p:nvGrpSpPr>
        <p:grpSpPr>
          <a:xfrm>
            <a:off x="5587558" y="5708296"/>
            <a:ext cx="361670" cy="361333"/>
            <a:chOff x="8239823" y="4792617"/>
            <a:chExt cx="361670" cy="361333"/>
          </a:xfrm>
          <a:solidFill>
            <a:schemeClr val="tx1">
              <a:lumMod val="65000"/>
              <a:lumOff val="35000"/>
            </a:schemeClr>
          </a:solidFill>
        </p:grpSpPr>
        <p:sp>
          <p:nvSpPr>
            <p:cNvPr id="73" name="Graphic 4">
              <a:extLst>
                <a:ext uri="{FF2B5EF4-FFF2-40B4-BE49-F238E27FC236}">
                  <a16:creationId xmlns:a16="http://schemas.microsoft.com/office/drawing/2014/main" id="{C7408B47-B1AF-47EE-8637-652BB3D4DBFB}"/>
                </a:ext>
              </a:extLst>
            </p:cNvPr>
            <p:cNvSpPr/>
            <p:nvPr/>
          </p:nvSpPr>
          <p:spPr>
            <a:xfrm>
              <a:off x="8372734" y="5014780"/>
              <a:ext cx="38339" cy="29366"/>
            </a:xfrm>
            <a:custGeom>
              <a:avLst/>
              <a:gdLst>
                <a:gd name="connsiteX0" fmla="*/ 19170 w 38339"/>
                <a:gd name="connsiteY0" fmla="*/ 24897 h 29366"/>
                <a:gd name="connsiteX1" fmla="*/ 23642 w 38339"/>
                <a:gd name="connsiteY1" fmla="*/ 21705 h 29366"/>
                <a:gd name="connsiteX2" fmla="*/ 31310 w 38339"/>
                <a:gd name="connsiteY2" fmla="*/ 14683 h 29366"/>
                <a:gd name="connsiteX3" fmla="*/ 35783 w 38339"/>
                <a:gd name="connsiteY3" fmla="*/ 9576 h 29366"/>
                <a:gd name="connsiteX4" fmla="*/ 38340 w 38339"/>
                <a:gd name="connsiteY4" fmla="*/ 5107 h 29366"/>
                <a:gd name="connsiteX5" fmla="*/ 38340 w 38339"/>
                <a:gd name="connsiteY5" fmla="*/ 3192 h 29366"/>
                <a:gd name="connsiteX6" fmla="*/ 32589 w 38339"/>
                <a:gd name="connsiteY6" fmla="*/ 0 h 29366"/>
                <a:gd name="connsiteX7" fmla="*/ 31950 w 38339"/>
                <a:gd name="connsiteY7" fmla="*/ 0 h 29366"/>
                <a:gd name="connsiteX8" fmla="*/ 0 w 38339"/>
                <a:gd name="connsiteY8" fmla="*/ 26812 h 29366"/>
                <a:gd name="connsiteX9" fmla="*/ 12780 w 38339"/>
                <a:gd name="connsiteY9" fmla="*/ 29366 h 29366"/>
                <a:gd name="connsiteX10" fmla="*/ 19170 w 38339"/>
                <a:gd name="connsiteY10" fmla="*/ 24897 h 2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339" h="29366">
                  <a:moveTo>
                    <a:pt x="19170" y="24897"/>
                  </a:moveTo>
                  <a:cubicBezTo>
                    <a:pt x="20447" y="23620"/>
                    <a:pt x="21725" y="22982"/>
                    <a:pt x="23642" y="21705"/>
                  </a:cubicBezTo>
                  <a:lnTo>
                    <a:pt x="31310" y="14683"/>
                  </a:lnTo>
                  <a:cubicBezTo>
                    <a:pt x="32589" y="13406"/>
                    <a:pt x="34505" y="11491"/>
                    <a:pt x="35783" y="9576"/>
                  </a:cubicBezTo>
                  <a:cubicBezTo>
                    <a:pt x="35783" y="7660"/>
                    <a:pt x="37061" y="6384"/>
                    <a:pt x="38340" y="5107"/>
                  </a:cubicBezTo>
                  <a:cubicBezTo>
                    <a:pt x="38340" y="4468"/>
                    <a:pt x="38340" y="3830"/>
                    <a:pt x="38340" y="3192"/>
                  </a:cubicBezTo>
                  <a:cubicBezTo>
                    <a:pt x="35783" y="638"/>
                    <a:pt x="33866" y="0"/>
                    <a:pt x="32589" y="0"/>
                  </a:cubicBezTo>
                  <a:cubicBezTo>
                    <a:pt x="32589" y="0"/>
                    <a:pt x="32589" y="0"/>
                    <a:pt x="31950" y="0"/>
                  </a:cubicBezTo>
                  <a:lnTo>
                    <a:pt x="0" y="26812"/>
                  </a:lnTo>
                  <a:cubicBezTo>
                    <a:pt x="3195" y="28089"/>
                    <a:pt x="10863" y="29366"/>
                    <a:pt x="12780" y="29366"/>
                  </a:cubicBezTo>
                  <a:cubicBezTo>
                    <a:pt x="13419" y="29366"/>
                    <a:pt x="17253" y="26812"/>
                    <a:pt x="19170" y="24897"/>
                  </a:cubicBez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74" name="Graphic 4">
              <a:extLst>
                <a:ext uri="{FF2B5EF4-FFF2-40B4-BE49-F238E27FC236}">
                  <a16:creationId xmlns:a16="http://schemas.microsoft.com/office/drawing/2014/main" id="{8CD910DF-55B5-4E7A-9387-191F9878AA06}"/>
                </a:ext>
              </a:extLst>
            </p:cNvPr>
            <p:cNvSpPr/>
            <p:nvPr/>
          </p:nvSpPr>
          <p:spPr>
            <a:xfrm>
              <a:off x="8347075" y="4989907"/>
              <a:ext cx="55447" cy="44746"/>
            </a:xfrm>
            <a:custGeom>
              <a:avLst/>
              <a:gdLst>
                <a:gd name="connsiteX0" fmla="*/ 14157 w 55447"/>
                <a:gd name="connsiteY0" fmla="*/ 44664 h 44746"/>
                <a:gd name="connsiteX1" fmla="*/ 51219 w 55447"/>
                <a:gd name="connsiteY1" fmla="*/ 13382 h 44746"/>
                <a:gd name="connsiteX2" fmla="*/ 51857 w 55447"/>
                <a:gd name="connsiteY2" fmla="*/ 12744 h 44746"/>
                <a:gd name="connsiteX3" fmla="*/ 52496 w 55447"/>
                <a:gd name="connsiteY3" fmla="*/ 12106 h 44746"/>
                <a:gd name="connsiteX4" fmla="*/ 53774 w 55447"/>
                <a:gd name="connsiteY4" fmla="*/ 2530 h 44746"/>
                <a:gd name="connsiteX5" fmla="*/ 44189 w 55447"/>
                <a:gd name="connsiteY5" fmla="*/ 1891 h 44746"/>
                <a:gd name="connsiteX6" fmla="*/ 36521 w 55447"/>
                <a:gd name="connsiteY6" fmla="*/ 6998 h 44746"/>
                <a:gd name="connsiteX7" fmla="*/ 35883 w 55447"/>
                <a:gd name="connsiteY7" fmla="*/ 7637 h 44746"/>
                <a:gd name="connsiteX8" fmla="*/ 3294 w 55447"/>
                <a:gd name="connsiteY8" fmla="*/ 34450 h 44746"/>
                <a:gd name="connsiteX9" fmla="*/ 738 w 55447"/>
                <a:gd name="connsiteY9" fmla="*/ 36365 h 44746"/>
                <a:gd name="connsiteX10" fmla="*/ 738 w 55447"/>
                <a:gd name="connsiteY10" fmla="*/ 36365 h 44746"/>
                <a:gd name="connsiteX11" fmla="*/ 738 w 55447"/>
                <a:gd name="connsiteY11" fmla="*/ 39557 h 44746"/>
                <a:gd name="connsiteX12" fmla="*/ 14157 w 55447"/>
                <a:gd name="connsiteY12" fmla="*/ 44664 h 4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447" h="44746">
                  <a:moveTo>
                    <a:pt x="14157" y="44664"/>
                  </a:moveTo>
                  <a:lnTo>
                    <a:pt x="51219" y="13382"/>
                  </a:lnTo>
                  <a:cubicBezTo>
                    <a:pt x="51219" y="13382"/>
                    <a:pt x="51219" y="13382"/>
                    <a:pt x="51857" y="12744"/>
                  </a:cubicBezTo>
                  <a:cubicBezTo>
                    <a:pt x="51857" y="12106"/>
                    <a:pt x="52496" y="12106"/>
                    <a:pt x="52496" y="12106"/>
                  </a:cubicBezTo>
                  <a:cubicBezTo>
                    <a:pt x="55052" y="9552"/>
                    <a:pt x="56969" y="5722"/>
                    <a:pt x="53774" y="2530"/>
                  </a:cubicBezTo>
                  <a:cubicBezTo>
                    <a:pt x="50579" y="-1939"/>
                    <a:pt x="46106" y="614"/>
                    <a:pt x="44189" y="1891"/>
                  </a:cubicBezTo>
                  <a:lnTo>
                    <a:pt x="36521" y="6998"/>
                  </a:lnTo>
                  <a:cubicBezTo>
                    <a:pt x="36521" y="6998"/>
                    <a:pt x="36521" y="6998"/>
                    <a:pt x="35883" y="7637"/>
                  </a:cubicBezTo>
                  <a:lnTo>
                    <a:pt x="3294" y="34450"/>
                  </a:lnTo>
                  <a:cubicBezTo>
                    <a:pt x="2655" y="35088"/>
                    <a:pt x="1377" y="35726"/>
                    <a:pt x="738" y="36365"/>
                  </a:cubicBezTo>
                  <a:cubicBezTo>
                    <a:pt x="738" y="36365"/>
                    <a:pt x="738" y="36365"/>
                    <a:pt x="738" y="36365"/>
                  </a:cubicBezTo>
                  <a:cubicBezTo>
                    <a:pt x="99" y="37003"/>
                    <a:pt x="-540" y="37642"/>
                    <a:pt x="738" y="39557"/>
                  </a:cubicBezTo>
                  <a:cubicBezTo>
                    <a:pt x="3294" y="42110"/>
                    <a:pt x="9684" y="45302"/>
                    <a:pt x="14157" y="44664"/>
                  </a:cubicBez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75" name="Graphic 4">
              <a:extLst>
                <a:ext uri="{FF2B5EF4-FFF2-40B4-BE49-F238E27FC236}">
                  <a16:creationId xmlns:a16="http://schemas.microsoft.com/office/drawing/2014/main" id="{0DF98F0D-38B7-4D80-A219-0DA1E38F2D10}"/>
                </a:ext>
              </a:extLst>
            </p:cNvPr>
            <p:cNvSpPr/>
            <p:nvPr/>
          </p:nvSpPr>
          <p:spPr>
            <a:xfrm>
              <a:off x="8329921" y="4983499"/>
              <a:ext cx="42173" cy="31571"/>
            </a:xfrm>
            <a:custGeom>
              <a:avLst/>
              <a:gdLst>
                <a:gd name="connsiteX0" fmla="*/ 10863 w 42173"/>
                <a:gd name="connsiteY0" fmla="*/ 31282 h 31571"/>
                <a:gd name="connsiteX1" fmla="*/ 11502 w 42173"/>
                <a:gd name="connsiteY1" fmla="*/ 30643 h 31571"/>
                <a:gd name="connsiteX2" fmla="*/ 11502 w 42173"/>
                <a:gd name="connsiteY2" fmla="*/ 30643 h 31571"/>
                <a:gd name="connsiteX3" fmla="*/ 42173 w 42173"/>
                <a:gd name="connsiteY3" fmla="*/ 5107 h 31571"/>
                <a:gd name="connsiteX4" fmla="*/ 42173 w 42173"/>
                <a:gd name="connsiteY4" fmla="*/ 5107 h 31571"/>
                <a:gd name="connsiteX5" fmla="*/ 40896 w 42173"/>
                <a:gd name="connsiteY5" fmla="*/ 3192 h 31571"/>
                <a:gd name="connsiteX6" fmla="*/ 35145 w 42173"/>
                <a:gd name="connsiteY6" fmla="*/ 0 h 31571"/>
                <a:gd name="connsiteX7" fmla="*/ 30033 w 42173"/>
                <a:gd name="connsiteY7" fmla="*/ 1915 h 31571"/>
                <a:gd name="connsiteX8" fmla="*/ 639 w 42173"/>
                <a:gd name="connsiteY8" fmla="*/ 21067 h 31571"/>
                <a:gd name="connsiteX9" fmla="*/ 0 w 42173"/>
                <a:gd name="connsiteY9" fmla="*/ 22982 h 31571"/>
                <a:gd name="connsiteX10" fmla="*/ 639 w 42173"/>
                <a:gd name="connsiteY10" fmla="*/ 26813 h 31571"/>
                <a:gd name="connsiteX11" fmla="*/ 10863 w 42173"/>
                <a:gd name="connsiteY11" fmla="*/ 31282 h 3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31571">
                  <a:moveTo>
                    <a:pt x="10863" y="31282"/>
                  </a:moveTo>
                  <a:cubicBezTo>
                    <a:pt x="11502" y="31282"/>
                    <a:pt x="11502" y="31282"/>
                    <a:pt x="11502" y="30643"/>
                  </a:cubicBezTo>
                  <a:cubicBezTo>
                    <a:pt x="11502" y="30643"/>
                    <a:pt x="11502" y="30643"/>
                    <a:pt x="11502" y="30643"/>
                  </a:cubicBezTo>
                  <a:lnTo>
                    <a:pt x="42173" y="5107"/>
                  </a:lnTo>
                  <a:cubicBezTo>
                    <a:pt x="42173" y="5107"/>
                    <a:pt x="42173" y="5107"/>
                    <a:pt x="42173" y="5107"/>
                  </a:cubicBezTo>
                  <a:cubicBezTo>
                    <a:pt x="42173" y="4469"/>
                    <a:pt x="41535" y="3830"/>
                    <a:pt x="40896" y="3192"/>
                  </a:cubicBezTo>
                  <a:cubicBezTo>
                    <a:pt x="38978" y="638"/>
                    <a:pt x="37062" y="0"/>
                    <a:pt x="35145" y="0"/>
                  </a:cubicBezTo>
                  <a:cubicBezTo>
                    <a:pt x="33228" y="0"/>
                    <a:pt x="31311" y="1277"/>
                    <a:pt x="30033" y="1915"/>
                  </a:cubicBezTo>
                  <a:lnTo>
                    <a:pt x="639" y="21067"/>
                  </a:lnTo>
                  <a:cubicBezTo>
                    <a:pt x="639" y="21067"/>
                    <a:pt x="0" y="21706"/>
                    <a:pt x="0" y="22982"/>
                  </a:cubicBezTo>
                  <a:cubicBezTo>
                    <a:pt x="0" y="24259"/>
                    <a:pt x="0" y="26174"/>
                    <a:pt x="639" y="26813"/>
                  </a:cubicBezTo>
                  <a:cubicBezTo>
                    <a:pt x="5751" y="31920"/>
                    <a:pt x="9585" y="31920"/>
                    <a:pt x="10863" y="31282"/>
                  </a:cubicBez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76" name="Graphic 4">
              <a:extLst>
                <a:ext uri="{FF2B5EF4-FFF2-40B4-BE49-F238E27FC236}">
                  <a16:creationId xmlns:a16="http://schemas.microsoft.com/office/drawing/2014/main" id="{C5D73188-FFB7-4B67-B90D-D3C9A59FBF92}"/>
                </a:ext>
              </a:extLst>
            </p:cNvPr>
            <p:cNvSpPr/>
            <p:nvPr/>
          </p:nvSpPr>
          <p:spPr>
            <a:xfrm>
              <a:off x="8398933" y="5032017"/>
              <a:ext cx="24540" cy="21067"/>
            </a:xfrm>
            <a:custGeom>
              <a:avLst/>
              <a:gdLst>
                <a:gd name="connsiteX0" fmla="*/ 24281 w 24540"/>
                <a:gd name="connsiteY0" fmla="*/ 3192 h 21067"/>
                <a:gd name="connsiteX1" fmla="*/ 19170 w 24540"/>
                <a:gd name="connsiteY1" fmla="*/ 0 h 21067"/>
                <a:gd name="connsiteX2" fmla="*/ 13419 w 24540"/>
                <a:gd name="connsiteY2" fmla="*/ 6384 h 21067"/>
                <a:gd name="connsiteX3" fmla="*/ 5751 w 24540"/>
                <a:gd name="connsiteY3" fmla="*/ 14045 h 21067"/>
                <a:gd name="connsiteX4" fmla="*/ 5111 w 24540"/>
                <a:gd name="connsiteY4" fmla="*/ 14683 h 21067"/>
                <a:gd name="connsiteX5" fmla="*/ 1278 w 24540"/>
                <a:gd name="connsiteY5" fmla="*/ 17875 h 21067"/>
                <a:gd name="connsiteX6" fmla="*/ 0 w 24540"/>
                <a:gd name="connsiteY6" fmla="*/ 19152 h 21067"/>
                <a:gd name="connsiteX7" fmla="*/ 7668 w 24540"/>
                <a:gd name="connsiteY7" fmla="*/ 21067 h 21067"/>
                <a:gd name="connsiteX8" fmla="*/ 20447 w 24540"/>
                <a:gd name="connsiteY8" fmla="*/ 10215 h 21067"/>
                <a:gd name="connsiteX9" fmla="*/ 21086 w 24540"/>
                <a:gd name="connsiteY9" fmla="*/ 9576 h 21067"/>
                <a:gd name="connsiteX10" fmla="*/ 24281 w 24540"/>
                <a:gd name="connsiteY10" fmla="*/ 3192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40" h="21067">
                  <a:moveTo>
                    <a:pt x="24281" y="3192"/>
                  </a:moveTo>
                  <a:cubicBezTo>
                    <a:pt x="22365" y="1277"/>
                    <a:pt x="20447" y="639"/>
                    <a:pt x="19170" y="0"/>
                  </a:cubicBezTo>
                  <a:cubicBezTo>
                    <a:pt x="17253" y="2554"/>
                    <a:pt x="14696" y="5107"/>
                    <a:pt x="13419" y="6384"/>
                  </a:cubicBezTo>
                  <a:lnTo>
                    <a:pt x="5751" y="14045"/>
                  </a:lnTo>
                  <a:cubicBezTo>
                    <a:pt x="5751" y="14045"/>
                    <a:pt x="5111" y="14683"/>
                    <a:pt x="5111" y="14683"/>
                  </a:cubicBezTo>
                  <a:cubicBezTo>
                    <a:pt x="3834" y="15960"/>
                    <a:pt x="2556" y="16599"/>
                    <a:pt x="1278" y="17875"/>
                  </a:cubicBezTo>
                  <a:cubicBezTo>
                    <a:pt x="639" y="18514"/>
                    <a:pt x="0" y="18514"/>
                    <a:pt x="0" y="19152"/>
                  </a:cubicBezTo>
                  <a:cubicBezTo>
                    <a:pt x="1917" y="20429"/>
                    <a:pt x="4473" y="21067"/>
                    <a:pt x="7668" y="21067"/>
                  </a:cubicBezTo>
                  <a:cubicBezTo>
                    <a:pt x="8946" y="21067"/>
                    <a:pt x="12141" y="19152"/>
                    <a:pt x="20447" y="10215"/>
                  </a:cubicBezTo>
                  <a:lnTo>
                    <a:pt x="21086" y="9576"/>
                  </a:lnTo>
                  <a:cubicBezTo>
                    <a:pt x="21726" y="8299"/>
                    <a:pt x="25560" y="4469"/>
                    <a:pt x="24281" y="3192"/>
                  </a:cubicBezTo>
                  <a:close/>
                </a:path>
              </a:pathLst>
            </a:custGeom>
            <a:grpFill/>
            <a:ln w="6390" cap="flat">
              <a:noFill/>
              <a:prstDash val="solid"/>
              <a:miter/>
            </a:ln>
          </p:spPr>
          <p:txBody>
            <a:bodyPr rtlCol="0" anchor="ctr"/>
            <a:lstStyle/>
            <a:p>
              <a:endParaRPr lang="en-US" sz="1200">
                <a:solidFill>
                  <a:schemeClr val="bg1">
                    <a:lumMod val="75000"/>
                  </a:schemeClr>
                </a:solidFill>
              </a:endParaRPr>
            </a:p>
          </p:txBody>
        </p:sp>
        <p:sp>
          <p:nvSpPr>
            <p:cNvPr id="77" name="Graphic 4">
              <a:extLst>
                <a:ext uri="{FF2B5EF4-FFF2-40B4-BE49-F238E27FC236}">
                  <a16:creationId xmlns:a16="http://schemas.microsoft.com/office/drawing/2014/main" id="{2CE8A90C-6C7C-4923-B0D1-F9499BC53964}"/>
                </a:ext>
              </a:extLst>
            </p:cNvPr>
            <p:cNvSpPr/>
            <p:nvPr/>
          </p:nvSpPr>
          <p:spPr>
            <a:xfrm>
              <a:off x="8239823" y="4792617"/>
              <a:ext cx="361670" cy="361333"/>
            </a:xfrm>
            <a:custGeom>
              <a:avLst/>
              <a:gdLst>
                <a:gd name="connsiteX0" fmla="*/ 180836 w 361670"/>
                <a:gd name="connsiteY0" fmla="*/ 0 h 361333"/>
                <a:gd name="connsiteX1" fmla="*/ 0 w 361670"/>
                <a:gd name="connsiteY1" fmla="*/ 180667 h 361333"/>
                <a:gd name="connsiteX2" fmla="*/ 180836 w 361670"/>
                <a:gd name="connsiteY2" fmla="*/ 361334 h 361333"/>
                <a:gd name="connsiteX3" fmla="*/ 361670 w 361670"/>
                <a:gd name="connsiteY3" fmla="*/ 180667 h 361333"/>
                <a:gd name="connsiteX4" fmla="*/ 180836 w 361670"/>
                <a:gd name="connsiteY4" fmla="*/ 0 h 361333"/>
                <a:gd name="connsiteX5" fmla="*/ 306078 w 361670"/>
                <a:gd name="connsiteY5" fmla="*/ 185774 h 361333"/>
                <a:gd name="connsiteX6" fmla="*/ 282435 w 361670"/>
                <a:gd name="connsiteY6" fmla="*/ 195350 h 361333"/>
                <a:gd name="connsiteX7" fmla="*/ 283713 w 361670"/>
                <a:gd name="connsiteY7" fmla="*/ 201734 h 361333"/>
                <a:gd name="connsiteX8" fmla="*/ 277323 w 361670"/>
                <a:gd name="connsiteY8" fmla="*/ 213225 h 361333"/>
                <a:gd name="connsiteX9" fmla="*/ 276045 w 361670"/>
                <a:gd name="connsiteY9" fmla="*/ 213863 h 361333"/>
                <a:gd name="connsiteX10" fmla="*/ 267739 w 361670"/>
                <a:gd name="connsiteY10" fmla="*/ 218971 h 361333"/>
                <a:gd name="connsiteX11" fmla="*/ 267739 w 361670"/>
                <a:gd name="connsiteY11" fmla="*/ 220247 h 361333"/>
                <a:gd name="connsiteX12" fmla="*/ 260070 w 361670"/>
                <a:gd name="connsiteY12" fmla="*/ 233654 h 361333"/>
                <a:gd name="connsiteX13" fmla="*/ 247290 w 361670"/>
                <a:gd name="connsiteY13" fmla="*/ 240038 h 361333"/>
                <a:gd name="connsiteX14" fmla="*/ 246651 w 361670"/>
                <a:gd name="connsiteY14" fmla="*/ 240038 h 361333"/>
                <a:gd name="connsiteX15" fmla="*/ 244735 w 361670"/>
                <a:gd name="connsiteY15" fmla="*/ 239399 h 361333"/>
                <a:gd name="connsiteX16" fmla="*/ 238345 w 361670"/>
                <a:gd name="connsiteY16" fmla="*/ 247060 h 361333"/>
                <a:gd name="connsiteX17" fmla="*/ 225565 w 361670"/>
                <a:gd name="connsiteY17" fmla="*/ 253444 h 361333"/>
                <a:gd name="connsiteX18" fmla="*/ 224925 w 361670"/>
                <a:gd name="connsiteY18" fmla="*/ 253444 h 361333"/>
                <a:gd name="connsiteX19" fmla="*/ 218536 w 361670"/>
                <a:gd name="connsiteY19" fmla="*/ 250891 h 361333"/>
                <a:gd name="connsiteX20" fmla="*/ 217258 w 361670"/>
                <a:gd name="connsiteY20" fmla="*/ 252167 h 361333"/>
                <a:gd name="connsiteX21" fmla="*/ 201922 w 361670"/>
                <a:gd name="connsiteY21" fmla="*/ 261105 h 361333"/>
                <a:gd name="connsiteX22" fmla="*/ 201283 w 361670"/>
                <a:gd name="connsiteY22" fmla="*/ 261105 h 361333"/>
                <a:gd name="connsiteX23" fmla="*/ 189142 w 361670"/>
                <a:gd name="connsiteY23" fmla="*/ 255998 h 361333"/>
                <a:gd name="connsiteX24" fmla="*/ 189142 w 361670"/>
                <a:gd name="connsiteY24" fmla="*/ 255998 h 361333"/>
                <a:gd name="connsiteX25" fmla="*/ 187864 w 361670"/>
                <a:gd name="connsiteY25" fmla="*/ 257275 h 361333"/>
                <a:gd name="connsiteX26" fmla="*/ 187225 w 361670"/>
                <a:gd name="connsiteY26" fmla="*/ 257913 h 361333"/>
                <a:gd name="connsiteX27" fmla="*/ 166138 w 361670"/>
                <a:gd name="connsiteY27" fmla="*/ 272596 h 361333"/>
                <a:gd name="connsiteX28" fmla="*/ 164221 w 361670"/>
                <a:gd name="connsiteY28" fmla="*/ 272596 h 361333"/>
                <a:gd name="connsiteX29" fmla="*/ 147607 w 361670"/>
                <a:gd name="connsiteY29" fmla="*/ 266212 h 361333"/>
                <a:gd name="connsiteX30" fmla="*/ 146330 w 361670"/>
                <a:gd name="connsiteY30" fmla="*/ 264297 h 361333"/>
                <a:gd name="connsiteX31" fmla="*/ 144412 w 361670"/>
                <a:gd name="connsiteY31" fmla="*/ 264297 h 361333"/>
                <a:gd name="connsiteX32" fmla="*/ 120131 w 361670"/>
                <a:gd name="connsiteY32" fmla="*/ 255359 h 361333"/>
                <a:gd name="connsiteX33" fmla="*/ 119492 w 361670"/>
                <a:gd name="connsiteY33" fmla="*/ 254721 h 361333"/>
                <a:gd name="connsiteX34" fmla="*/ 97766 w 361670"/>
                <a:gd name="connsiteY34" fmla="*/ 243868 h 361333"/>
                <a:gd name="connsiteX35" fmla="*/ 94571 w 361670"/>
                <a:gd name="connsiteY35" fmla="*/ 234931 h 361333"/>
                <a:gd name="connsiteX36" fmla="*/ 80513 w 361670"/>
                <a:gd name="connsiteY36" fmla="*/ 224078 h 361333"/>
                <a:gd name="connsiteX37" fmla="*/ 77957 w 361670"/>
                <a:gd name="connsiteY37" fmla="*/ 210671 h 361333"/>
                <a:gd name="connsiteX38" fmla="*/ 81792 w 361670"/>
                <a:gd name="connsiteY38" fmla="*/ 203011 h 361333"/>
                <a:gd name="connsiteX39" fmla="*/ 79874 w 361670"/>
                <a:gd name="connsiteY39" fmla="*/ 200457 h 361333"/>
                <a:gd name="connsiteX40" fmla="*/ 56232 w 361670"/>
                <a:gd name="connsiteY40" fmla="*/ 186412 h 361333"/>
                <a:gd name="connsiteX41" fmla="*/ 52397 w 361670"/>
                <a:gd name="connsiteY41" fmla="*/ 178113 h 361333"/>
                <a:gd name="connsiteX42" fmla="*/ 60704 w 361670"/>
                <a:gd name="connsiteY42" fmla="*/ 174283 h 361333"/>
                <a:gd name="connsiteX43" fmla="*/ 89459 w 361670"/>
                <a:gd name="connsiteY43" fmla="*/ 191519 h 361333"/>
                <a:gd name="connsiteX44" fmla="*/ 92654 w 361670"/>
                <a:gd name="connsiteY44" fmla="*/ 194711 h 361333"/>
                <a:gd name="connsiteX45" fmla="*/ 114380 w 361670"/>
                <a:gd name="connsiteY45" fmla="*/ 180667 h 361333"/>
                <a:gd name="connsiteX46" fmla="*/ 141856 w 361670"/>
                <a:gd name="connsiteY46" fmla="*/ 185135 h 361333"/>
                <a:gd name="connsiteX47" fmla="*/ 143774 w 361670"/>
                <a:gd name="connsiteY47" fmla="*/ 187689 h 361333"/>
                <a:gd name="connsiteX48" fmla="*/ 144412 w 361670"/>
                <a:gd name="connsiteY48" fmla="*/ 187051 h 361333"/>
                <a:gd name="connsiteX49" fmla="*/ 171251 w 361670"/>
                <a:gd name="connsiteY49" fmla="*/ 190243 h 361333"/>
                <a:gd name="connsiteX50" fmla="*/ 173167 w 361670"/>
                <a:gd name="connsiteY50" fmla="*/ 211310 h 361333"/>
                <a:gd name="connsiteX51" fmla="*/ 179557 w 361670"/>
                <a:gd name="connsiteY51" fmla="*/ 216417 h 361333"/>
                <a:gd name="connsiteX52" fmla="*/ 180196 w 361670"/>
                <a:gd name="connsiteY52" fmla="*/ 217055 h 361333"/>
                <a:gd name="connsiteX53" fmla="*/ 183391 w 361670"/>
                <a:gd name="connsiteY53" fmla="*/ 226631 h 361333"/>
                <a:gd name="connsiteX54" fmla="*/ 192337 w 361670"/>
                <a:gd name="connsiteY54" fmla="*/ 233015 h 361333"/>
                <a:gd name="connsiteX55" fmla="*/ 193615 w 361670"/>
                <a:gd name="connsiteY55" fmla="*/ 234292 h 361333"/>
                <a:gd name="connsiteX56" fmla="*/ 196171 w 361670"/>
                <a:gd name="connsiteY56" fmla="*/ 244507 h 361333"/>
                <a:gd name="connsiteX57" fmla="*/ 197449 w 361670"/>
                <a:gd name="connsiteY57" fmla="*/ 245145 h 361333"/>
                <a:gd name="connsiteX58" fmla="*/ 203839 w 361670"/>
                <a:gd name="connsiteY58" fmla="*/ 247699 h 361333"/>
                <a:gd name="connsiteX59" fmla="*/ 209590 w 361670"/>
                <a:gd name="connsiteY59" fmla="*/ 242591 h 361333"/>
                <a:gd name="connsiteX60" fmla="*/ 210229 w 361670"/>
                <a:gd name="connsiteY60" fmla="*/ 241953 h 361333"/>
                <a:gd name="connsiteX61" fmla="*/ 207034 w 361670"/>
                <a:gd name="connsiteY61" fmla="*/ 239399 h 361333"/>
                <a:gd name="connsiteX62" fmla="*/ 194254 w 361670"/>
                <a:gd name="connsiteY62" fmla="*/ 228547 h 361333"/>
                <a:gd name="connsiteX63" fmla="*/ 192976 w 361670"/>
                <a:gd name="connsiteY63" fmla="*/ 219609 h 361333"/>
                <a:gd name="connsiteX64" fmla="*/ 201922 w 361670"/>
                <a:gd name="connsiteY64" fmla="*/ 218332 h 361333"/>
                <a:gd name="connsiteX65" fmla="*/ 215980 w 361670"/>
                <a:gd name="connsiteY65" fmla="*/ 230462 h 361333"/>
                <a:gd name="connsiteX66" fmla="*/ 227482 w 361670"/>
                <a:gd name="connsiteY66" fmla="*/ 240038 h 361333"/>
                <a:gd name="connsiteX67" fmla="*/ 231315 w 361670"/>
                <a:gd name="connsiteY67" fmla="*/ 236846 h 361333"/>
                <a:gd name="connsiteX68" fmla="*/ 234510 w 361670"/>
                <a:gd name="connsiteY68" fmla="*/ 232377 h 361333"/>
                <a:gd name="connsiteX69" fmla="*/ 233233 w 361670"/>
                <a:gd name="connsiteY69" fmla="*/ 231739 h 361333"/>
                <a:gd name="connsiteX70" fmla="*/ 231315 w 361670"/>
                <a:gd name="connsiteY70" fmla="*/ 230462 h 361333"/>
                <a:gd name="connsiteX71" fmla="*/ 224287 w 361670"/>
                <a:gd name="connsiteY71" fmla="*/ 223439 h 361333"/>
                <a:gd name="connsiteX72" fmla="*/ 224287 w 361670"/>
                <a:gd name="connsiteY72" fmla="*/ 223439 h 361333"/>
                <a:gd name="connsiteX73" fmla="*/ 224287 w 361670"/>
                <a:gd name="connsiteY73" fmla="*/ 223439 h 361333"/>
                <a:gd name="connsiteX74" fmla="*/ 222370 w 361670"/>
                <a:gd name="connsiteY74" fmla="*/ 221524 h 361333"/>
                <a:gd name="connsiteX75" fmla="*/ 210229 w 361670"/>
                <a:gd name="connsiteY75" fmla="*/ 210671 h 361333"/>
                <a:gd name="connsiteX76" fmla="*/ 209590 w 361670"/>
                <a:gd name="connsiteY76" fmla="*/ 201734 h 361333"/>
                <a:gd name="connsiteX77" fmla="*/ 218536 w 361670"/>
                <a:gd name="connsiteY77" fmla="*/ 201095 h 361333"/>
                <a:gd name="connsiteX78" fmla="*/ 231315 w 361670"/>
                <a:gd name="connsiteY78" fmla="*/ 213225 h 361333"/>
                <a:gd name="connsiteX79" fmla="*/ 232594 w 361670"/>
                <a:gd name="connsiteY79" fmla="*/ 214502 h 361333"/>
                <a:gd name="connsiteX80" fmla="*/ 242179 w 361670"/>
                <a:gd name="connsiteY80" fmla="*/ 222801 h 361333"/>
                <a:gd name="connsiteX81" fmla="*/ 248569 w 361670"/>
                <a:gd name="connsiteY81" fmla="*/ 227270 h 361333"/>
                <a:gd name="connsiteX82" fmla="*/ 253041 w 361670"/>
                <a:gd name="connsiteY82" fmla="*/ 224078 h 361333"/>
                <a:gd name="connsiteX83" fmla="*/ 256236 w 361670"/>
                <a:gd name="connsiteY83" fmla="*/ 219609 h 361333"/>
                <a:gd name="connsiteX84" fmla="*/ 254320 w 361670"/>
                <a:gd name="connsiteY84" fmla="*/ 215779 h 361333"/>
                <a:gd name="connsiteX85" fmla="*/ 253680 w 361670"/>
                <a:gd name="connsiteY85" fmla="*/ 215140 h 361333"/>
                <a:gd name="connsiteX86" fmla="*/ 243456 w 361670"/>
                <a:gd name="connsiteY86" fmla="*/ 206203 h 361333"/>
                <a:gd name="connsiteX87" fmla="*/ 230038 w 361670"/>
                <a:gd name="connsiteY87" fmla="*/ 194711 h 361333"/>
                <a:gd name="connsiteX88" fmla="*/ 228760 w 361670"/>
                <a:gd name="connsiteY88" fmla="*/ 185774 h 361333"/>
                <a:gd name="connsiteX89" fmla="*/ 237705 w 361670"/>
                <a:gd name="connsiteY89" fmla="*/ 184497 h 361333"/>
                <a:gd name="connsiteX90" fmla="*/ 251764 w 361670"/>
                <a:gd name="connsiteY90" fmla="*/ 196627 h 361333"/>
                <a:gd name="connsiteX91" fmla="*/ 263905 w 361670"/>
                <a:gd name="connsiteY91" fmla="*/ 206841 h 361333"/>
                <a:gd name="connsiteX92" fmla="*/ 267739 w 361670"/>
                <a:gd name="connsiteY92" fmla="*/ 203649 h 361333"/>
                <a:gd name="connsiteX93" fmla="*/ 269016 w 361670"/>
                <a:gd name="connsiteY93" fmla="*/ 203011 h 361333"/>
                <a:gd name="connsiteX94" fmla="*/ 270934 w 361670"/>
                <a:gd name="connsiteY94" fmla="*/ 201095 h 361333"/>
                <a:gd name="connsiteX95" fmla="*/ 269016 w 361670"/>
                <a:gd name="connsiteY95" fmla="*/ 198542 h 361333"/>
                <a:gd name="connsiteX96" fmla="*/ 267100 w 361670"/>
                <a:gd name="connsiteY96" fmla="*/ 196627 h 361333"/>
                <a:gd name="connsiteX97" fmla="*/ 267100 w 361670"/>
                <a:gd name="connsiteY97" fmla="*/ 196627 h 361333"/>
                <a:gd name="connsiteX98" fmla="*/ 267100 w 361670"/>
                <a:gd name="connsiteY98" fmla="*/ 196627 h 361333"/>
                <a:gd name="connsiteX99" fmla="*/ 255597 w 361670"/>
                <a:gd name="connsiteY99" fmla="*/ 182582 h 361333"/>
                <a:gd name="connsiteX100" fmla="*/ 247290 w 361670"/>
                <a:gd name="connsiteY100" fmla="*/ 172368 h 361333"/>
                <a:gd name="connsiteX101" fmla="*/ 235789 w 361670"/>
                <a:gd name="connsiteY101" fmla="*/ 164068 h 361333"/>
                <a:gd name="connsiteX102" fmla="*/ 205117 w 361670"/>
                <a:gd name="connsiteY102" fmla="*/ 151939 h 361333"/>
                <a:gd name="connsiteX103" fmla="*/ 160387 w 361670"/>
                <a:gd name="connsiteY103" fmla="*/ 156408 h 361333"/>
                <a:gd name="connsiteX104" fmla="*/ 134189 w 361670"/>
                <a:gd name="connsiteY104" fmla="*/ 165345 h 361333"/>
                <a:gd name="connsiteX105" fmla="*/ 112463 w 361670"/>
                <a:gd name="connsiteY105" fmla="*/ 153216 h 361333"/>
                <a:gd name="connsiteX106" fmla="*/ 113741 w 361670"/>
                <a:gd name="connsiteY106" fmla="*/ 141086 h 361333"/>
                <a:gd name="connsiteX107" fmla="*/ 120131 w 361670"/>
                <a:gd name="connsiteY107" fmla="*/ 135341 h 361333"/>
                <a:gd name="connsiteX108" fmla="*/ 141217 w 361670"/>
                <a:gd name="connsiteY108" fmla="*/ 116827 h 361333"/>
                <a:gd name="connsiteX109" fmla="*/ 143135 w 361670"/>
                <a:gd name="connsiteY109" fmla="*/ 115550 h 361333"/>
                <a:gd name="connsiteX110" fmla="*/ 155276 w 361670"/>
                <a:gd name="connsiteY110" fmla="*/ 111081 h 361333"/>
                <a:gd name="connsiteX111" fmla="*/ 154636 w 361670"/>
                <a:gd name="connsiteY111" fmla="*/ 111081 h 361333"/>
                <a:gd name="connsiteX112" fmla="*/ 150802 w 361670"/>
                <a:gd name="connsiteY112" fmla="*/ 111081 h 361333"/>
                <a:gd name="connsiteX113" fmla="*/ 119492 w 361670"/>
                <a:gd name="connsiteY113" fmla="*/ 118104 h 361333"/>
                <a:gd name="connsiteX114" fmla="*/ 114380 w 361670"/>
                <a:gd name="connsiteY114" fmla="*/ 118742 h 361333"/>
                <a:gd name="connsiteX115" fmla="*/ 106073 w 361670"/>
                <a:gd name="connsiteY115" fmla="*/ 117465 h 361333"/>
                <a:gd name="connsiteX116" fmla="*/ 87542 w 361670"/>
                <a:gd name="connsiteY116" fmla="*/ 109166 h 361333"/>
                <a:gd name="connsiteX117" fmla="*/ 84347 w 361670"/>
                <a:gd name="connsiteY117" fmla="*/ 100867 h 361333"/>
                <a:gd name="connsiteX118" fmla="*/ 92654 w 361670"/>
                <a:gd name="connsiteY118" fmla="*/ 97675 h 361333"/>
                <a:gd name="connsiteX119" fmla="*/ 110546 w 361670"/>
                <a:gd name="connsiteY119" fmla="*/ 105974 h 361333"/>
                <a:gd name="connsiteX120" fmla="*/ 116297 w 361670"/>
                <a:gd name="connsiteY120" fmla="*/ 105974 h 361333"/>
                <a:gd name="connsiteX121" fmla="*/ 147607 w 361670"/>
                <a:gd name="connsiteY121" fmla="*/ 98952 h 361333"/>
                <a:gd name="connsiteX122" fmla="*/ 156553 w 361670"/>
                <a:gd name="connsiteY122" fmla="*/ 98313 h 361333"/>
                <a:gd name="connsiteX123" fmla="*/ 157831 w 361670"/>
                <a:gd name="connsiteY123" fmla="*/ 98313 h 361333"/>
                <a:gd name="connsiteX124" fmla="*/ 173806 w 361670"/>
                <a:gd name="connsiteY124" fmla="*/ 103421 h 361333"/>
                <a:gd name="connsiteX125" fmla="*/ 174446 w 361670"/>
                <a:gd name="connsiteY125" fmla="*/ 103421 h 361333"/>
                <a:gd name="connsiteX126" fmla="*/ 201922 w 361670"/>
                <a:gd name="connsiteY126" fmla="*/ 101505 h 361333"/>
                <a:gd name="connsiteX127" fmla="*/ 212785 w 361670"/>
                <a:gd name="connsiteY127" fmla="*/ 102144 h 361333"/>
                <a:gd name="connsiteX128" fmla="*/ 250485 w 361670"/>
                <a:gd name="connsiteY128" fmla="*/ 102144 h 361333"/>
                <a:gd name="connsiteX129" fmla="*/ 253041 w 361670"/>
                <a:gd name="connsiteY129" fmla="*/ 101505 h 361333"/>
                <a:gd name="connsiteX130" fmla="*/ 274128 w 361670"/>
                <a:gd name="connsiteY130" fmla="*/ 90653 h 361333"/>
                <a:gd name="connsiteX131" fmla="*/ 283075 w 361670"/>
                <a:gd name="connsiteY131" fmla="*/ 93206 h 361333"/>
                <a:gd name="connsiteX132" fmla="*/ 280518 w 361670"/>
                <a:gd name="connsiteY132" fmla="*/ 102144 h 361333"/>
                <a:gd name="connsiteX133" fmla="*/ 260070 w 361670"/>
                <a:gd name="connsiteY133" fmla="*/ 112997 h 361333"/>
                <a:gd name="connsiteX134" fmla="*/ 251125 w 361670"/>
                <a:gd name="connsiteY134" fmla="*/ 115550 h 361333"/>
                <a:gd name="connsiteX135" fmla="*/ 251125 w 361670"/>
                <a:gd name="connsiteY135" fmla="*/ 115550 h 361333"/>
                <a:gd name="connsiteX136" fmla="*/ 213424 w 361670"/>
                <a:gd name="connsiteY136" fmla="*/ 115550 h 361333"/>
                <a:gd name="connsiteX137" fmla="*/ 201283 w 361670"/>
                <a:gd name="connsiteY137" fmla="*/ 114912 h 361333"/>
                <a:gd name="connsiteX138" fmla="*/ 179557 w 361670"/>
                <a:gd name="connsiteY138" fmla="*/ 115550 h 361333"/>
                <a:gd name="connsiteX139" fmla="*/ 148886 w 361670"/>
                <a:gd name="connsiteY139" fmla="*/ 127041 h 361333"/>
                <a:gd name="connsiteX140" fmla="*/ 125243 w 361670"/>
                <a:gd name="connsiteY140" fmla="*/ 148108 h 361333"/>
                <a:gd name="connsiteX141" fmla="*/ 155276 w 361670"/>
                <a:gd name="connsiteY141" fmla="*/ 144916 h 361333"/>
                <a:gd name="connsiteX142" fmla="*/ 157831 w 361670"/>
                <a:gd name="connsiteY142" fmla="*/ 144278 h 361333"/>
                <a:gd name="connsiteX143" fmla="*/ 205117 w 361670"/>
                <a:gd name="connsiteY143" fmla="*/ 139171 h 361333"/>
                <a:gd name="connsiteX144" fmla="*/ 205117 w 361670"/>
                <a:gd name="connsiteY144" fmla="*/ 139171 h 361333"/>
                <a:gd name="connsiteX145" fmla="*/ 207034 w 361670"/>
                <a:gd name="connsiteY145" fmla="*/ 139171 h 361333"/>
                <a:gd name="connsiteX146" fmla="*/ 207673 w 361670"/>
                <a:gd name="connsiteY146" fmla="*/ 139171 h 361333"/>
                <a:gd name="connsiteX147" fmla="*/ 208312 w 361670"/>
                <a:gd name="connsiteY147" fmla="*/ 139171 h 361333"/>
                <a:gd name="connsiteX148" fmla="*/ 240261 w 361670"/>
                <a:gd name="connsiteY148" fmla="*/ 151939 h 361333"/>
                <a:gd name="connsiteX149" fmla="*/ 240900 w 361670"/>
                <a:gd name="connsiteY149" fmla="*/ 151939 h 361333"/>
                <a:gd name="connsiteX150" fmla="*/ 240900 w 361670"/>
                <a:gd name="connsiteY150" fmla="*/ 151939 h 361333"/>
                <a:gd name="connsiteX151" fmla="*/ 270295 w 361670"/>
                <a:gd name="connsiteY151" fmla="*/ 148747 h 361333"/>
                <a:gd name="connsiteX152" fmla="*/ 279240 w 361670"/>
                <a:gd name="connsiteY152" fmla="*/ 150662 h 361333"/>
                <a:gd name="connsiteX153" fmla="*/ 277323 w 361670"/>
                <a:gd name="connsiteY153" fmla="*/ 159600 h 361333"/>
                <a:gd name="connsiteX154" fmla="*/ 257515 w 361670"/>
                <a:gd name="connsiteY154" fmla="*/ 165984 h 361333"/>
                <a:gd name="connsiteX155" fmla="*/ 264544 w 361670"/>
                <a:gd name="connsiteY155" fmla="*/ 174921 h 361333"/>
                <a:gd name="connsiteX156" fmla="*/ 273490 w 361670"/>
                <a:gd name="connsiteY156" fmla="*/ 185774 h 361333"/>
                <a:gd name="connsiteX157" fmla="*/ 300327 w 361670"/>
                <a:gd name="connsiteY157" fmla="*/ 174921 h 361333"/>
                <a:gd name="connsiteX158" fmla="*/ 308634 w 361670"/>
                <a:gd name="connsiteY158" fmla="*/ 178752 h 361333"/>
                <a:gd name="connsiteX159" fmla="*/ 306078 w 361670"/>
                <a:gd name="connsiteY159" fmla="*/ 18577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361670" h="361333">
                  <a:moveTo>
                    <a:pt x="180836" y="0"/>
                  </a:moveTo>
                  <a:cubicBezTo>
                    <a:pt x="80513" y="0"/>
                    <a:pt x="0" y="81077"/>
                    <a:pt x="0" y="180667"/>
                  </a:cubicBezTo>
                  <a:cubicBezTo>
                    <a:pt x="0" y="280257"/>
                    <a:pt x="81152" y="361334"/>
                    <a:pt x="180836" y="361334"/>
                  </a:cubicBezTo>
                  <a:cubicBezTo>
                    <a:pt x="281157" y="361334"/>
                    <a:pt x="361670" y="280257"/>
                    <a:pt x="361670" y="180667"/>
                  </a:cubicBezTo>
                  <a:cubicBezTo>
                    <a:pt x="361670" y="81077"/>
                    <a:pt x="281157" y="0"/>
                    <a:pt x="180836" y="0"/>
                  </a:cubicBezTo>
                  <a:close/>
                  <a:moveTo>
                    <a:pt x="306078" y="185774"/>
                  </a:moveTo>
                  <a:lnTo>
                    <a:pt x="282435" y="195350"/>
                  </a:lnTo>
                  <a:cubicBezTo>
                    <a:pt x="283075" y="197265"/>
                    <a:pt x="283713" y="199180"/>
                    <a:pt x="283713" y="201734"/>
                  </a:cubicBezTo>
                  <a:cubicBezTo>
                    <a:pt x="283075" y="207479"/>
                    <a:pt x="280518" y="210671"/>
                    <a:pt x="277323" y="213225"/>
                  </a:cubicBezTo>
                  <a:lnTo>
                    <a:pt x="276045" y="213863"/>
                  </a:lnTo>
                  <a:cubicBezTo>
                    <a:pt x="273490" y="215779"/>
                    <a:pt x="270934" y="218332"/>
                    <a:pt x="267739" y="218971"/>
                  </a:cubicBezTo>
                  <a:cubicBezTo>
                    <a:pt x="267739" y="219609"/>
                    <a:pt x="267739" y="219609"/>
                    <a:pt x="267739" y="220247"/>
                  </a:cubicBezTo>
                  <a:cubicBezTo>
                    <a:pt x="267100" y="226631"/>
                    <a:pt x="263905" y="230462"/>
                    <a:pt x="260070" y="233654"/>
                  </a:cubicBezTo>
                  <a:cubicBezTo>
                    <a:pt x="256236" y="236846"/>
                    <a:pt x="252403" y="240038"/>
                    <a:pt x="247290" y="240038"/>
                  </a:cubicBezTo>
                  <a:cubicBezTo>
                    <a:pt x="247290" y="240038"/>
                    <a:pt x="246651" y="240038"/>
                    <a:pt x="246651" y="240038"/>
                  </a:cubicBezTo>
                  <a:cubicBezTo>
                    <a:pt x="246013" y="240038"/>
                    <a:pt x="245374" y="240038"/>
                    <a:pt x="244735" y="239399"/>
                  </a:cubicBezTo>
                  <a:cubicBezTo>
                    <a:pt x="243456" y="242591"/>
                    <a:pt x="240900" y="245145"/>
                    <a:pt x="238345" y="247060"/>
                  </a:cubicBezTo>
                  <a:cubicBezTo>
                    <a:pt x="234510" y="250252"/>
                    <a:pt x="230677" y="253444"/>
                    <a:pt x="225565" y="253444"/>
                  </a:cubicBezTo>
                  <a:cubicBezTo>
                    <a:pt x="225565" y="253444"/>
                    <a:pt x="224925" y="253444"/>
                    <a:pt x="224925" y="253444"/>
                  </a:cubicBezTo>
                  <a:cubicBezTo>
                    <a:pt x="223009" y="253444"/>
                    <a:pt x="220453" y="252806"/>
                    <a:pt x="218536" y="250891"/>
                  </a:cubicBezTo>
                  <a:cubicBezTo>
                    <a:pt x="217897" y="251529"/>
                    <a:pt x="217897" y="251529"/>
                    <a:pt x="217258" y="252167"/>
                  </a:cubicBezTo>
                  <a:cubicBezTo>
                    <a:pt x="213424" y="256636"/>
                    <a:pt x="208951" y="261105"/>
                    <a:pt x="201922" y="261105"/>
                  </a:cubicBezTo>
                  <a:cubicBezTo>
                    <a:pt x="201922" y="261105"/>
                    <a:pt x="201283" y="261105"/>
                    <a:pt x="201283" y="261105"/>
                  </a:cubicBezTo>
                  <a:cubicBezTo>
                    <a:pt x="198727" y="261105"/>
                    <a:pt x="191698" y="257913"/>
                    <a:pt x="189142" y="255998"/>
                  </a:cubicBezTo>
                  <a:cubicBezTo>
                    <a:pt x="189142" y="255998"/>
                    <a:pt x="189142" y="255998"/>
                    <a:pt x="189142" y="255998"/>
                  </a:cubicBezTo>
                  <a:cubicBezTo>
                    <a:pt x="188503" y="256636"/>
                    <a:pt x="187864" y="257275"/>
                    <a:pt x="187864" y="257275"/>
                  </a:cubicBezTo>
                  <a:lnTo>
                    <a:pt x="187225" y="257913"/>
                  </a:lnTo>
                  <a:cubicBezTo>
                    <a:pt x="178918" y="266212"/>
                    <a:pt x="171889" y="271958"/>
                    <a:pt x="166138" y="272596"/>
                  </a:cubicBezTo>
                  <a:cubicBezTo>
                    <a:pt x="165500" y="272596"/>
                    <a:pt x="164861" y="272596"/>
                    <a:pt x="164221" y="272596"/>
                  </a:cubicBezTo>
                  <a:cubicBezTo>
                    <a:pt x="157831" y="272596"/>
                    <a:pt x="151441" y="270043"/>
                    <a:pt x="147607" y="266212"/>
                  </a:cubicBezTo>
                  <a:cubicBezTo>
                    <a:pt x="146969" y="265574"/>
                    <a:pt x="146330" y="264935"/>
                    <a:pt x="146330" y="264297"/>
                  </a:cubicBezTo>
                  <a:cubicBezTo>
                    <a:pt x="145691" y="264297"/>
                    <a:pt x="145051" y="264297"/>
                    <a:pt x="144412" y="264297"/>
                  </a:cubicBezTo>
                  <a:cubicBezTo>
                    <a:pt x="136745" y="264297"/>
                    <a:pt x="123965" y="261105"/>
                    <a:pt x="120131" y="255359"/>
                  </a:cubicBezTo>
                  <a:cubicBezTo>
                    <a:pt x="120131" y="255359"/>
                    <a:pt x="120131" y="254721"/>
                    <a:pt x="119492" y="254721"/>
                  </a:cubicBezTo>
                  <a:cubicBezTo>
                    <a:pt x="110546" y="254721"/>
                    <a:pt x="101600" y="249614"/>
                    <a:pt x="97766" y="243868"/>
                  </a:cubicBezTo>
                  <a:cubicBezTo>
                    <a:pt x="95849" y="241315"/>
                    <a:pt x="94571" y="238123"/>
                    <a:pt x="94571" y="234931"/>
                  </a:cubicBezTo>
                  <a:cubicBezTo>
                    <a:pt x="89459" y="233654"/>
                    <a:pt x="84986" y="230462"/>
                    <a:pt x="80513" y="224078"/>
                  </a:cubicBezTo>
                  <a:cubicBezTo>
                    <a:pt x="77957" y="220247"/>
                    <a:pt x="76679" y="215140"/>
                    <a:pt x="77957" y="210671"/>
                  </a:cubicBezTo>
                  <a:cubicBezTo>
                    <a:pt x="78597" y="207479"/>
                    <a:pt x="79874" y="204926"/>
                    <a:pt x="81792" y="203011"/>
                  </a:cubicBezTo>
                  <a:cubicBezTo>
                    <a:pt x="81152" y="202372"/>
                    <a:pt x="80513" y="201734"/>
                    <a:pt x="79874" y="200457"/>
                  </a:cubicBezTo>
                  <a:cubicBezTo>
                    <a:pt x="79874" y="200457"/>
                    <a:pt x="72845" y="193435"/>
                    <a:pt x="56232" y="186412"/>
                  </a:cubicBezTo>
                  <a:cubicBezTo>
                    <a:pt x="53037" y="185135"/>
                    <a:pt x="51119" y="181305"/>
                    <a:pt x="52397" y="178113"/>
                  </a:cubicBezTo>
                  <a:cubicBezTo>
                    <a:pt x="53676" y="174921"/>
                    <a:pt x="57509" y="173006"/>
                    <a:pt x="60704" y="174283"/>
                  </a:cubicBezTo>
                  <a:cubicBezTo>
                    <a:pt x="80513" y="181944"/>
                    <a:pt x="88820" y="190243"/>
                    <a:pt x="89459" y="191519"/>
                  </a:cubicBezTo>
                  <a:cubicBezTo>
                    <a:pt x="90737" y="192796"/>
                    <a:pt x="91376" y="194073"/>
                    <a:pt x="92654" y="194711"/>
                  </a:cubicBezTo>
                  <a:lnTo>
                    <a:pt x="114380" y="180667"/>
                  </a:lnTo>
                  <a:cubicBezTo>
                    <a:pt x="126521" y="173006"/>
                    <a:pt x="136745" y="178752"/>
                    <a:pt x="141856" y="185135"/>
                  </a:cubicBezTo>
                  <a:cubicBezTo>
                    <a:pt x="142496" y="185774"/>
                    <a:pt x="143135" y="187051"/>
                    <a:pt x="143774" y="187689"/>
                  </a:cubicBezTo>
                  <a:lnTo>
                    <a:pt x="144412" y="187051"/>
                  </a:lnTo>
                  <a:cubicBezTo>
                    <a:pt x="153358" y="180667"/>
                    <a:pt x="164221" y="181944"/>
                    <a:pt x="171251" y="190243"/>
                  </a:cubicBezTo>
                  <a:cubicBezTo>
                    <a:pt x="176362" y="196627"/>
                    <a:pt x="177001" y="204287"/>
                    <a:pt x="173167" y="211310"/>
                  </a:cubicBezTo>
                  <a:cubicBezTo>
                    <a:pt x="175723" y="212587"/>
                    <a:pt x="177641" y="214502"/>
                    <a:pt x="179557" y="216417"/>
                  </a:cubicBezTo>
                  <a:cubicBezTo>
                    <a:pt x="179557" y="216417"/>
                    <a:pt x="180196" y="217055"/>
                    <a:pt x="180196" y="217055"/>
                  </a:cubicBezTo>
                  <a:cubicBezTo>
                    <a:pt x="182752" y="220247"/>
                    <a:pt x="183391" y="223439"/>
                    <a:pt x="183391" y="226631"/>
                  </a:cubicBezTo>
                  <a:cubicBezTo>
                    <a:pt x="186586" y="227908"/>
                    <a:pt x="189781" y="229823"/>
                    <a:pt x="192337" y="233015"/>
                  </a:cubicBezTo>
                  <a:cubicBezTo>
                    <a:pt x="192976" y="233654"/>
                    <a:pt x="192976" y="233654"/>
                    <a:pt x="193615" y="234292"/>
                  </a:cubicBezTo>
                  <a:cubicBezTo>
                    <a:pt x="196171" y="238123"/>
                    <a:pt x="196810" y="241315"/>
                    <a:pt x="196171" y="244507"/>
                  </a:cubicBezTo>
                  <a:cubicBezTo>
                    <a:pt x="196810" y="244507"/>
                    <a:pt x="196810" y="245145"/>
                    <a:pt x="197449" y="245145"/>
                  </a:cubicBezTo>
                  <a:cubicBezTo>
                    <a:pt x="198727" y="245783"/>
                    <a:pt x="201922" y="247060"/>
                    <a:pt x="203839" y="247699"/>
                  </a:cubicBezTo>
                  <a:cubicBezTo>
                    <a:pt x="205117" y="247060"/>
                    <a:pt x="207673" y="244507"/>
                    <a:pt x="209590" y="242591"/>
                  </a:cubicBezTo>
                  <a:cubicBezTo>
                    <a:pt x="209590" y="242591"/>
                    <a:pt x="209590" y="242591"/>
                    <a:pt x="210229" y="241953"/>
                  </a:cubicBezTo>
                  <a:cubicBezTo>
                    <a:pt x="209590" y="241315"/>
                    <a:pt x="208312" y="240038"/>
                    <a:pt x="207034" y="239399"/>
                  </a:cubicBezTo>
                  <a:cubicBezTo>
                    <a:pt x="202561" y="235569"/>
                    <a:pt x="198727" y="231739"/>
                    <a:pt x="194254" y="228547"/>
                  </a:cubicBezTo>
                  <a:cubicBezTo>
                    <a:pt x="191698" y="226631"/>
                    <a:pt x="191059" y="222163"/>
                    <a:pt x="192976" y="219609"/>
                  </a:cubicBezTo>
                  <a:cubicBezTo>
                    <a:pt x="194893" y="217055"/>
                    <a:pt x="199366" y="216417"/>
                    <a:pt x="201922" y="218332"/>
                  </a:cubicBezTo>
                  <a:cubicBezTo>
                    <a:pt x="206395" y="222163"/>
                    <a:pt x="211507" y="226631"/>
                    <a:pt x="215980" y="230462"/>
                  </a:cubicBezTo>
                  <a:cubicBezTo>
                    <a:pt x="219814" y="234292"/>
                    <a:pt x="225565" y="239399"/>
                    <a:pt x="227482" y="240038"/>
                  </a:cubicBezTo>
                  <a:cubicBezTo>
                    <a:pt x="227482" y="240038"/>
                    <a:pt x="228120" y="239399"/>
                    <a:pt x="231315" y="236846"/>
                  </a:cubicBezTo>
                  <a:cubicBezTo>
                    <a:pt x="234510" y="234292"/>
                    <a:pt x="234510" y="233654"/>
                    <a:pt x="234510" y="232377"/>
                  </a:cubicBezTo>
                  <a:cubicBezTo>
                    <a:pt x="234510" y="232377"/>
                    <a:pt x="233872" y="231739"/>
                    <a:pt x="233233" y="231739"/>
                  </a:cubicBezTo>
                  <a:cubicBezTo>
                    <a:pt x="232594" y="231100"/>
                    <a:pt x="231955" y="230462"/>
                    <a:pt x="231315" y="230462"/>
                  </a:cubicBezTo>
                  <a:cubicBezTo>
                    <a:pt x="228760" y="228547"/>
                    <a:pt x="226843" y="225993"/>
                    <a:pt x="224287" y="223439"/>
                  </a:cubicBezTo>
                  <a:cubicBezTo>
                    <a:pt x="224287" y="223439"/>
                    <a:pt x="224287" y="223439"/>
                    <a:pt x="224287" y="223439"/>
                  </a:cubicBezTo>
                  <a:cubicBezTo>
                    <a:pt x="224287" y="223439"/>
                    <a:pt x="224287" y="223439"/>
                    <a:pt x="224287" y="223439"/>
                  </a:cubicBezTo>
                  <a:cubicBezTo>
                    <a:pt x="223648" y="222801"/>
                    <a:pt x="223009" y="222163"/>
                    <a:pt x="222370" y="221524"/>
                  </a:cubicBezTo>
                  <a:cubicBezTo>
                    <a:pt x="218536" y="217694"/>
                    <a:pt x="214702" y="213863"/>
                    <a:pt x="210229" y="210671"/>
                  </a:cubicBezTo>
                  <a:cubicBezTo>
                    <a:pt x="207673" y="208118"/>
                    <a:pt x="207034" y="204287"/>
                    <a:pt x="209590" y="201734"/>
                  </a:cubicBezTo>
                  <a:cubicBezTo>
                    <a:pt x="212146" y="199180"/>
                    <a:pt x="215980" y="198542"/>
                    <a:pt x="218536" y="201095"/>
                  </a:cubicBezTo>
                  <a:cubicBezTo>
                    <a:pt x="223009" y="204926"/>
                    <a:pt x="227482" y="208756"/>
                    <a:pt x="231315" y="213225"/>
                  </a:cubicBezTo>
                  <a:cubicBezTo>
                    <a:pt x="231955" y="213863"/>
                    <a:pt x="232594" y="214502"/>
                    <a:pt x="232594" y="214502"/>
                  </a:cubicBezTo>
                  <a:cubicBezTo>
                    <a:pt x="236428" y="217694"/>
                    <a:pt x="239623" y="220247"/>
                    <a:pt x="242179" y="222801"/>
                  </a:cubicBezTo>
                  <a:cubicBezTo>
                    <a:pt x="244735" y="225355"/>
                    <a:pt x="247290" y="227270"/>
                    <a:pt x="248569" y="227270"/>
                  </a:cubicBezTo>
                  <a:cubicBezTo>
                    <a:pt x="248569" y="227270"/>
                    <a:pt x="249846" y="226631"/>
                    <a:pt x="253041" y="224078"/>
                  </a:cubicBezTo>
                  <a:cubicBezTo>
                    <a:pt x="256236" y="221524"/>
                    <a:pt x="256236" y="220886"/>
                    <a:pt x="256236" y="219609"/>
                  </a:cubicBezTo>
                  <a:cubicBezTo>
                    <a:pt x="256236" y="217694"/>
                    <a:pt x="255597" y="217055"/>
                    <a:pt x="254320" y="215779"/>
                  </a:cubicBezTo>
                  <a:cubicBezTo>
                    <a:pt x="254320" y="215779"/>
                    <a:pt x="254320" y="215140"/>
                    <a:pt x="253680" y="215140"/>
                  </a:cubicBezTo>
                  <a:cubicBezTo>
                    <a:pt x="251125" y="213225"/>
                    <a:pt x="247290" y="210033"/>
                    <a:pt x="243456" y="206203"/>
                  </a:cubicBezTo>
                  <a:cubicBezTo>
                    <a:pt x="238984" y="202372"/>
                    <a:pt x="234510" y="197903"/>
                    <a:pt x="230038" y="194711"/>
                  </a:cubicBezTo>
                  <a:cubicBezTo>
                    <a:pt x="227482" y="192796"/>
                    <a:pt x="226843" y="188327"/>
                    <a:pt x="228760" y="185774"/>
                  </a:cubicBezTo>
                  <a:cubicBezTo>
                    <a:pt x="230677" y="183220"/>
                    <a:pt x="235150" y="182582"/>
                    <a:pt x="237705" y="184497"/>
                  </a:cubicBezTo>
                  <a:cubicBezTo>
                    <a:pt x="242179" y="188327"/>
                    <a:pt x="247290" y="192796"/>
                    <a:pt x="251764" y="196627"/>
                  </a:cubicBezTo>
                  <a:cubicBezTo>
                    <a:pt x="255597" y="200457"/>
                    <a:pt x="261349" y="205564"/>
                    <a:pt x="263905" y="206841"/>
                  </a:cubicBezTo>
                  <a:cubicBezTo>
                    <a:pt x="264544" y="206841"/>
                    <a:pt x="265182" y="206203"/>
                    <a:pt x="267739" y="203649"/>
                  </a:cubicBezTo>
                  <a:lnTo>
                    <a:pt x="269016" y="203011"/>
                  </a:lnTo>
                  <a:cubicBezTo>
                    <a:pt x="269655" y="202372"/>
                    <a:pt x="270934" y="201734"/>
                    <a:pt x="270934" y="201095"/>
                  </a:cubicBezTo>
                  <a:cubicBezTo>
                    <a:pt x="270934" y="200457"/>
                    <a:pt x="269655" y="199180"/>
                    <a:pt x="269016" y="198542"/>
                  </a:cubicBezTo>
                  <a:cubicBezTo>
                    <a:pt x="268377" y="197903"/>
                    <a:pt x="267739" y="197265"/>
                    <a:pt x="267100" y="196627"/>
                  </a:cubicBezTo>
                  <a:cubicBezTo>
                    <a:pt x="267100" y="196627"/>
                    <a:pt x="267100" y="196627"/>
                    <a:pt x="267100" y="196627"/>
                  </a:cubicBezTo>
                  <a:cubicBezTo>
                    <a:pt x="267100" y="196627"/>
                    <a:pt x="267100" y="196627"/>
                    <a:pt x="267100" y="196627"/>
                  </a:cubicBezTo>
                  <a:cubicBezTo>
                    <a:pt x="263265" y="191519"/>
                    <a:pt x="258792" y="187051"/>
                    <a:pt x="255597" y="182582"/>
                  </a:cubicBezTo>
                  <a:cubicBezTo>
                    <a:pt x="252403" y="178752"/>
                    <a:pt x="249846" y="175560"/>
                    <a:pt x="247290" y="172368"/>
                  </a:cubicBezTo>
                  <a:cubicBezTo>
                    <a:pt x="244095" y="168537"/>
                    <a:pt x="240261" y="165345"/>
                    <a:pt x="235789" y="164068"/>
                  </a:cubicBezTo>
                  <a:lnTo>
                    <a:pt x="205117" y="151939"/>
                  </a:lnTo>
                  <a:lnTo>
                    <a:pt x="160387" y="156408"/>
                  </a:lnTo>
                  <a:cubicBezTo>
                    <a:pt x="149525" y="162792"/>
                    <a:pt x="141217" y="164707"/>
                    <a:pt x="134189" y="165345"/>
                  </a:cubicBezTo>
                  <a:cubicBezTo>
                    <a:pt x="121409" y="165345"/>
                    <a:pt x="115019" y="157046"/>
                    <a:pt x="112463" y="153216"/>
                  </a:cubicBezTo>
                  <a:cubicBezTo>
                    <a:pt x="109907" y="149385"/>
                    <a:pt x="110546" y="144278"/>
                    <a:pt x="113741" y="141086"/>
                  </a:cubicBezTo>
                  <a:lnTo>
                    <a:pt x="120131" y="135341"/>
                  </a:lnTo>
                  <a:lnTo>
                    <a:pt x="141217" y="116827"/>
                  </a:lnTo>
                  <a:cubicBezTo>
                    <a:pt x="141856" y="116189"/>
                    <a:pt x="142496" y="116189"/>
                    <a:pt x="143135" y="115550"/>
                  </a:cubicBezTo>
                  <a:lnTo>
                    <a:pt x="155276" y="111081"/>
                  </a:lnTo>
                  <a:lnTo>
                    <a:pt x="154636" y="111081"/>
                  </a:lnTo>
                  <a:cubicBezTo>
                    <a:pt x="153358" y="111081"/>
                    <a:pt x="152081" y="111081"/>
                    <a:pt x="150802" y="111081"/>
                  </a:cubicBezTo>
                  <a:lnTo>
                    <a:pt x="119492" y="118104"/>
                  </a:lnTo>
                  <a:cubicBezTo>
                    <a:pt x="117575" y="118742"/>
                    <a:pt x="115658" y="118742"/>
                    <a:pt x="114380" y="118742"/>
                  </a:cubicBezTo>
                  <a:cubicBezTo>
                    <a:pt x="111824" y="118742"/>
                    <a:pt x="108629" y="118104"/>
                    <a:pt x="106073" y="117465"/>
                  </a:cubicBezTo>
                  <a:lnTo>
                    <a:pt x="87542" y="109166"/>
                  </a:lnTo>
                  <a:cubicBezTo>
                    <a:pt x="84347" y="107889"/>
                    <a:pt x="83069" y="104059"/>
                    <a:pt x="84347" y="100867"/>
                  </a:cubicBezTo>
                  <a:cubicBezTo>
                    <a:pt x="85625" y="97675"/>
                    <a:pt x="89459" y="96398"/>
                    <a:pt x="92654" y="97675"/>
                  </a:cubicBezTo>
                  <a:lnTo>
                    <a:pt x="110546" y="105974"/>
                  </a:lnTo>
                  <a:cubicBezTo>
                    <a:pt x="112463" y="106613"/>
                    <a:pt x="114380" y="106613"/>
                    <a:pt x="116297" y="105974"/>
                  </a:cubicBezTo>
                  <a:lnTo>
                    <a:pt x="147607" y="98952"/>
                  </a:lnTo>
                  <a:cubicBezTo>
                    <a:pt x="150802" y="98313"/>
                    <a:pt x="153358" y="98313"/>
                    <a:pt x="156553" y="98313"/>
                  </a:cubicBezTo>
                  <a:cubicBezTo>
                    <a:pt x="157192" y="98313"/>
                    <a:pt x="157192" y="98313"/>
                    <a:pt x="157831" y="98313"/>
                  </a:cubicBezTo>
                  <a:lnTo>
                    <a:pt x="173806" y="103421"/>
                  </a:lnTo>
                  <a:lnTo>
                    <a:pt x="174446" y="103421"/>
                  </a:lnTo>
                  <a:cubicBezTo>
                    <a:pt x="183391" y="100229"/>
                    <a:pt x="192976" y="100867"/>
                    <a:pt x="201922" y="101505"/>
                  </a:cubicBezTo>
                  <a:cubicBezTo>
                    <a:pt x="205756" y="102144"/>
                    <a:pt x="209590" y="102144"/>
                    <a:pt x="212785" y="102144"/>
                  </a:cubicBezTo>
                  <a:lnTo>
                    <a:pt x="250485" y="102144"/>
                  </a:lnTo>
                  <a:cubicBezTo>
                    <a:pt x="251764" y="102144"/>
                    <a:pt x="252403" y="102144"/>
                    <a:pt x="253041" y="101505"/>
                  </a:cubicBezTo>
                  <a:lnTo>
                    <a:pt x="274128" y="90653"/>
                  </a:lnTo>
                  <a:cubicBezTo>
                    <a:pt x="277323" y="88738"/>
                    <a:pt x="281157" y="90014"/>
                    <a:pt x="283075" y="93206"/>
                  </a:cubicBezTo>
                  <a:cubicBezTo>
                    <a:pt x="284991" y="96398"/>
                    <a:pt x="283713" y="100229"/>
                    <a:pt x="280518" y="102144"/>
                  </a:cubicBezTo>
                  <a:lnTo>
                    <a:pt x="260070" y="112997"/>
                  </a:lnTo>
                  <a:cubicBezTo>
                    <a:pt x="257515" y="114273"/>
                    <a:pt x="254320" y="115550"/>
                    <a:pt x="251125" y="115550"/>
                  </a:cubicBezTo>
                  <a:cubicBezTo>
                    <a:pt x="251125" y="115550"/>
                    <a:pt x="251125" y="115550"/>
                    <a:pt x="251125" y="115550"/>
                  </a:cubicBezTo>
                  <a:lnTo>
                    <a:pt x="213424" y="115550"/>
                  </a:lnTo>
                  <a:cubicBezTo>
                    <a:pt x="209590" y="115550"/>
                    <a:pt x="205117" y="114912"/>
                    <a:pt x="201283" y="114912"/>
                  </a:cubicBezTo>
                  <a:cubicBezTo>
                    <a:pt x="193615" y="114273"/>
                    <a:pt x="185947" y="113635"/>
                    <a:pt x="179557" y="115550"/>
                  </a:cubicBezTo>
                  <a:lnTo>
                    <a:pt x="148886" y="127041"/>
                  </a:lnTo>
                  <a:lnTo>
                    <a:pt x="125243" y="148108"/>
                  </a:lnTo>
                  <a:cubicBezTo>
                    <a:pt x="129076" y="152577"/>
                    <a:pt x="136106" y="156408"/>
                    <a:pt x="155276" y="144916"/>
                  </a:cubicBezTo>
                  <a:cubicBezTo>
                    <a:pt x="155915" y="144278"/>
                    <a:pt x="157192" y="144278"/>
                    <a:pt x="157831" y="144278"/>
                  </a:cubicBezTo>
                  <a:lnTo>
                    <a:pt x="205117" y="139171"/>
                  </a:lnTo>
                  <a:cubicBezTo>
                    <a:pt x="205117" y="139171"/>
                    <a:pt x="205117" y="139171"/>
                    <a:pt x="205117" y="139171"/>
                  </a:cubicBezTo>
                  <a:cubicBezTo>
                    <a:pt x="205756" y="139171"/>
                    <a:pt x="206395" y="139171"/>
                    <a:pt x="207034" y="139171"/>
                  </a:cubicBezTo>
                  <a:cubicBezTo>
                    <a:pt x="207034" y="139171"/>
                    <a:pt x="207673" y="139171"/>
                    <a:pt x="207673" y="139171"/>
                  </a:cubicBezTo>
                  <a:cubicBezTo>
                    <a:pt x="207673" y="139171"/>
                    <a:pt x="207673" y="139171"/>
                    <a:pt x="208312" y="139171"/>
                  </a:cubicBezTo>
                  <a:lnTo>
                    <a:pt x="240261" y="151939"/>
                  </a:lnTo>
                  <a:cubicBezTo>
                    <a:pt x="240261" y="151939"/>
                    <a:pt x="240900" y="151939"/>
                    <a:pt x="240900" y="151939"/>
                  </a:cubicBezTo>
                  <a:cubicBezTo>
                    <a:pt x="240900" y="151939"/>
                    <a:pt x="240900" y="151939"/>
                    <a:pt x="240900" y="151939"/>
                  </a:cubicBezTo>
                  <a:cubicBezTo>
                    <a:pt x="244735" y="153854"/>
                    <a:pt x="263905" y="152577"/>
                    <a:pt x="270295" y="148747"/>
                  </a:cubicBezTo>
                  <a:cubicBezTo>
                    <a:pt x="273490" y="146832"/>
                    <a:pt x="277323" y="147470"/>
                    <a:pt x="279240" y="150662"/>
                  </a:cubicBezTo>
                  <a:cubicBezTo>
                    <a:pt x="281157" y="153854"/>
                    <a:pt x="280518" y="157684"/>
                    <a:pt x="277323" y="159600"/>
                  </a:cubicBezTo>
                  <a:cubicBezTo>
                    <a:pt x="272850" y="162792"/>
                    <a:pt x="265182" y="164707"/>
                    <a:pt x="257515" y="165984"/>
                  </a:cubicBezTo>
                  <a:cubicBezTo>
                    <a:pt x="259431" y="168537"/>
                    <a:pt x="261987" y="171729"/>
                    <a:pt x="264544" y="174921"/>
                  </a:cubicBezTo>
                  <a:cubicBezTo>
                    <a:pt x="267100" y="178113"/>
                    <a:pt x="270295" y="181944"/>
                    <a:pt x="273490" y="185774"/>
                  </a:cubicBezTo>
                  <a:lnTo>
                    <a:pt x="300327" y="174921"/>
                  </a:lnTo>
                  <a:cubicBezTo>
                    <a:pt x="303522" y="173644"/>
                    <a:pt x="307356" y="174921"/>
                    <a:pt x="308634" y="178752"/>
                  </a:cubicBezTo>
                  <a:cubicBezTo>
                    <a:pt x="311190" y="180667"/>
                    <a:pt x="309912" y="184497"/>
                    <a:pt x="306078" y="185774"/>
                  </a:cubicBezTo>
                  <a:close/>
                </a:path>
              </a:pathLst>
            </a:custGeom>
            <a:grpFill/>
            <a:ln w="6390" cap="flat">
              <a:noFill/>
              <a:prstDash val="solid"/>
              <a:miter/>
            </a:ln>
          </p:spPr>
          <p:txBody>
            <a:bodyPr rtlCol="0" anchor="ctr"/>
            <a:lstStyle/>
            <a:p>
              <a:endParaRPr lang="en-US" sz="1200">
                <a:solidFill>
                  <a:schemeClr val="bg1">
                    <a:lumMod val="75000"/>
                  </a:schemeClr>
                </a:solidFill>
              </a:endParaRPr>
            </a:p>
          </p:txBody>
        </p:sp>
      </p:grpSp>
      <p:grpSp>
        <p:nvGrpSpPr>
          <p:cNvPr id="78" name="Groupe 151">
            <a:extLst>
              <a:ext uri="{FF2B5EF4-FFF2-40B4-BE49-F238E27FC236}">
                <a16:creationId xmlns:a16="http://schemas.microsoft.com/office/drawing/2014/main" id="{D6E99003-D35B-4A36-B5B6-56687B17D98C}"/>
              </a:ext>
            </a:extLst>
          </p:cNvPr>
          <p:cNvGrpSpPr/>
          <p:nvPr/>
        </p:nvGrpSpPr>
        <p:grpSpPr>
          <a:xfrm>
            <a:off x="8920154" y="1656891"/>
            <a:ext cx="1609824" cy="361333"/>
            <a:chOff x="9012103" y="1087987"/>
            <a:chExt cx="1609824" cy="361333"/>
          </a:xfrm>
        </p:grpSpPr>
        <p:sp>
          <p:nvSpPr>
            <p:cNvPr id="79" name="ZoneTexte 112">
              <a:extLst>
                <a:ext uri="{FF2B5EF4-FFF2-40B4-BE49-F238E27FC236}">
                  <a16:creationId xmlns:a16="http://schemas.microsoft.com/office/drawing/2014/main" id="{733BE0CE-016B-40E0-AAC6-0630EC80F3AB}"/>
                </a:ext>
              </a:extLst>
            </p:cNvPr>
            <p:cNvSpPr txBox="1"/>
            <p:nvPr/>
          </p:nvSpPr>
          <p:spPr>
            <a:xfrm>
              <a:off x="9039214" y="1109171"/>
              <a:ext cx="1582713" cy="338554"/>
            </a:xfrm>
            <a:prstGeom prst="rect">
              <a:avLst/>
            </a:prstGeom>
            <a:solidFill>
              <a:schemeClr val="bg1"/>
            </a:solidFill>
          </p:spPr>
          <p:txBody>
            <a:bodyPr wrap="square" rIns="90000" rtlCol="0" anchor="ctr" anchorCtr="0">
              <a:spAutoFit/>
            </a:bodyPr>
            <a:lstStyle/>
            <a:p>
              <a:pPr algn="r"/>
              <a:r>
                <a:rPr lang="fr-FR" sz="1600" b="1" dirty="0">
                  <a:solidFill>
                    <a:srgbClr val="86BC25"/>
                  </a:solidFill>
                </a:rPr>
                <a:t>Risk Advisory</a:t>
              </a:r>
            </a:p>
          </p:txBody>
        </p:sp>
        <p:grpSp>
          <p:nvGrpSpPr>
            <p:cNvPr id="80" name="Graphic 4">
              <a:extLst>
                <a:ext uri="{FF2B5EF4-FFF2-40B4-BE49-F238E27FC236}">
                  <a16:creationId xmlns:a16="http://schemas.microsoft.com/office/drawing/2014/main" id="{EFE7BE4A-0164-46E3-8E88-8C1E58B4A17D}"/>
                </a:ext>
              </a:extLst>
            </p:cNvPr>
            <p:cNvGrpSpPr/>
            <p:nvPr/>
          </p:nvGrpSpPr>
          <p:grpSpPr>
            <a:xfrm>
              <a:off x="9012103" y="1087987"/>
              <a:ext cx="361670" cy="361333"/>
              <a:chOff x="5099808" y="3824168"/>
              <a:chExt cx="361670" cy="361333"/>
            </a:xfrm>
            <a:solidFill>
              <a:srgbClr val="86BC25"/>
            </a:solidFill>
          </p:grpSpPr>
          <p:sp>
            <p:nvSpPr>
              <p:cNvPr id="81" name="Graphic 4">
                <a:extLst>
                  <a:ext uri="{FF2B5EF4-FFF2-40B4-BE49-F238E27FC236}">
                    <a16:creationId xmlns:a16="http://schemas.microsoft.com/office/drawing/2014/main" id="{6A7A1275-870D-44A5-AE96-BF32913BA9E9}"/>
                  </a:ext>
                </a:extLst>
              </p:cNvPr>
              <p:cNvSpPr/>
              <p:nvPr/>
            </p:nvSpPr>
            <p:spPr>
              <a:xfrm>
                <a:off x="5232080" y="4011218"/>
                <a:ext cx="2555" cy="24259"/>
              </a:xfrm>
              <a:custGeom>
                <a:avLst/>
                <a:gdLst>
                  <a:gd name="connsiteX0" fmla="*/ 0 w 2555"/>
                  <a:gd name="connsiteY0" fmla="*/ 0 h 24259"/>
                  <a:gd name="connsiteX1" fmla="*/ 2556 w 2555"/>
                  <a:gd name="connsiteY1" fmla="*/ 0 h 24259"/>
                  <a:gd name="connsiteX2" fmla="*/ 2556 w 2555"/>
                  <a:gd name="connsiteY2" fmla="*/ 24259 h 24259"/>
                  <a:gd name="connsiteX3" fmla="*/ 0 w 2555"/>
                  <a:gd name="connsiteY3" fmla="*/ 24259 h 24259"/>
                </a:gdLst>
                <a:ahLst/>
                <a:cxnLst>
                  <a:cxn ang="0">
                    <a:pos x="connsiteX0" y="connsiteY0"/>
                  </a:cxn>
                  <a:cxn ang="0">
                    <a:pos x="connsiteX1" y="connsiteY1"/>
                  </a:cxn>
                  <a:cxn ang="0">
                    <a:pos x="connsiteX2" y="connsiteY2"/>
                  </a:cxn>
                  <a:cxn ang="0">
                    <a:pos x="connsiteX3" y="connsiteY3"/>
                  </a:cxn>
                </a:cxnLst>
                <a:rect l="l" t="t" r="r" b="b"/>
                <a:pathLst>
                  <a:path w="2555" h="24259">
                    <a:moveTo>
                      <a:pt x="0" y="0"/>
                    </a:moveTo>
                    <a:lnTo>
                      <a:pt x="2556" y="0"/>
                    </a:lnTo>
                    <a:lnTo>
                      <a:pt x="2556" y="24259"/>
                    </a:lnTo>
                    <a:lnTo>
                      <a:pt x="0" y="24259"/>
                    </a:lnTo>
                    <a:close/>
                  </a:path>
                </a:pathLst>
              </a:custGeom>
              <a:grpFill/>
              <a:ln w="6390" cap="flat">
                <a:noFill/>
                <a:prstDash val="solid"/>
                <a:miter/>
              </a:ln>
            </p:spPr>
            <p:txBody>
              <a:bodyPr rtlCol="0" anchor="ctr"/>
              <a:lstStyle/>
              <a:p>
                <a:endParaRPr lang="en-US"/>
              </a:p>
            </p:txBody>
          </p:sp>
          <p:sp>
            <p:nvSpPr>
              <p:cNvPr id="82" name="Graphic 4">
                <a:extLst>
                  <a:ext uri="{FF2B5EF4-FFF2-40B4-BE49-F238E27FC236}">
                    <a16:creationId xmlns:a16="http://schemas.microsoft.com/office/drawing/2014/main" id="{94C5EE55-133D-4392-B963-147E1C8D64DB}"/>
                  </a:ext>
                </a:extLst>
              </p:cNvPr>
              <p:cNvSpPr/>
              <p:nvPr/>
            </p:nvSpPr>
            <p:spPr>
              <a:xfrm>
                <a:off x="5294701" y="4006749"/>
                <a:ext cx="2555" cy="28727"/>
              </a:xfrm>
              <a:custGeom>
                <a:avLst/>
                <a:gdLst>
                  <a:gd name="connsiteX0" fmla="*/ 0 w 2555"/>
                  <a:gd name="connsiteY0" fmla="*/ 0 h 28727"/>
                  <a:gd name="connsiteX1" fmla="*/ 2556 w 2555"/>
                  <a:gd name="connsiteY1" fmla="*/ 0 h 28727"/>
                  <a:gd name="connsiteX2" fmla="*/ 2556 w 2555"/>
                  <a:gd name="connsiteY2" fmla="*/ 28728 h 28727"/>
                  <a:gd name="connsiteX3" fmla="*/ 0 w 2555"/>
                  <a:gd name="connsiteY3" fmla="*/ 28728 h 28727"/>
                </a:gdLst>
                <a:ahLst/>
                <a:cxnLst>
                  <a:cxn ang="0">
                    <a:pos x="connsiteX0" y="connsiteY0"/>
                  </a:cxn>
                  <a:cxn ang="0">
                    <a:pos x="connsiteX1" y="connsiteY1"/>
                  </a:cxn>
                  <a:cxn ang="0">
                    <a:pos x="connsiteX2" y="connsiteY2"/>
                  </a:cxn>
                  <a:cxn ang="0">
                    <a:pos x="connsiteX3" y="connsiteY3"/>
                  </a:cxn>
                </a:cxnLst>
                <a:rect l="l" t="t" r="r" b="b"/>
                <a:pathLst>
                  <a:path w="2555" h="28727">
                    <a:moveTo>
                      <a:pt x="0" y="0"/>
                    </a:moveTo>
                    <a:lnTo>
                      <a:pt x="2556" y="0"/>
                    </a:lnTo>
                    <a:lnTo>
                      <a:pt x="2556" y="28728"/>
                    </a:lnTo>
                    <a:lnTo>
                      <a:pt x="0" y="28728"/>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5ED0A2DA-677D-4E40-88A2-28DF06CEE4B7}"/>
                  </a:ext>
                </a:extLst>
              </p:cNvPr>
              <p:cNvSpPr/>
              <p:nvPr/>
            </p:nvSpPr>
            <p:spPr>
              <a:xfrm>
                <a:off x="5325373" y="4089741"/>
                <a:ext cx="6389" cy="6383"/>
              </a:xfrm>
              <a:custGeom>
                <a:avLst/>
                <a:gdLst>
                  <a:gd name="connsiteX0" fmla="*/ 0 w 6389"/>
                  <a:gd name="connsiteY0" fmla="*/ 0 h 6383"/>
                  <a:gd name="connsiteX1" fmla="*/ 0 w 6389"/>
                  <a:gd name="connsiteY1" fmla="*/ 6384 h 6383"/>
                  <a:gd name="connsiteX2" fmla="*/ 0 w 6389"/>
                  <a:gd name="connsiteY2" fmla="*/ 0 h 6383"/>
                </a:gdLst>
                <a:ahLst/>
                <a:cxnLst>
                  <a:cxn ang="0">
                    <a:pos x="connsiteX0" y="connsiteY0"/>
                  </a:cxn>
                  <a:cxn ang="0">
                    <a:pos x="connsiteX1" y="connsiteY1"/>
                  </a:cxn>
                  <a:cxn ang="0">
                    <a:pos x="connsiteX2" y="connsiteY2"/>
                  </a:cxn>
                </a:cxnLst>
                <a:rect l="l" t="t" r="r" b="b"/>
                <a:pathLst>
                  <a:path w="6389" h="6383">
                    <a:moveTo>
                      <a:pt x="0" y="0"/>
                    </a:moveTo>
                    <a:lnTo>
                      <a:pt x="0" y="6384"/>
                    </a:lnTo>
                    <a:lnTo>
                      <a:pt x="0" y="0"/>
                    </a:ln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E97DE492-24A0-44CF-B257-E66893B60145}"/>
                  </a:ext>
                </a:extLst>
              </p:cNvPr>
              <p:cNvSpPr/>
              <p:nvPr/>
            </p:nvSpPr>
            <p:spPr>
              <a:xfrm>
                <a:off x="5326012" y="3992705"/>
                <a:ext cx="2555" cy="42772"/>
              </a:xfrm>
              <a:custGeom>
                <a:avLst/>
                <a:gdLst>
                  <a:gd name="connsiteX0" fmla="*/ 0 w 2555"/>
                  <a:gd name="connsiteY0" fmla="*/ 0 h 42772"/>
                  <a:gd name="connsiteX1" fmla="*/ 2556 w 2555"/>
                  <a:gd name="connsiteY1" fmla="*/ 0 h 42772"/>
                  <a:gd name="connsiteX2" fmla="*/ 2556 w 2555"/>
                  <a:gd name="connsiteY2" fmla="*/ 42773 h 42772"/>
                  <a:gd name="connsiteX3" fmla="*/ 0 w 2555"/>
                  <a:gd name="connsiteY3" fmla="*/ 42773 h 42772"/>
                </a:gdLst>
                <a:ahLst/>
                <a:cxnLst>
                  <a:cxn ang="0">
                    <a:pos x="connsiteX0" y="connsiteY0"/>
                  </a:cxn>
                  <a:cxn ang="0">
                    <a:pos x="connsiteX1" y="connsiteY1"/>
                  </a:cxn>
                  <a:cxn ang="0">
                    <a:pos x="connsiteX2" y="connsiteY2"/>
                  </a:cxn>
                  <a:cxn ang="0">
                    <a:pos x="connsiteX3" y="connsiteY3"/>
                  </a:cxn>
                </a:cxnLst>
                <a:rect l="l" t="t" r="r" b="b"/>
                <a:pathLst>
                  <a:path w="2555" h="42772">
                    <a:moveTo>
                      <a:pt x="0" y="0"/>
                    </a:moveTo>
                    <a:lnTo>
                      <a:pt x="2556" y="0"/>
                    </a:lnTo>
                    <a:lnTo>
                      <a:pt x="2556" y="42773"/>
                    </a:lnTo>
                    <a:lnTo>
                      <a:pt x="0" y="42773"/>
                    </a:ln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4FD06055-C16F-44C2-BD3D-3511C7EDDB42}"/>
                  </a:ext>
                </a:extLst>
              </p:cNvPr>
              <p:cNvSpPr/>
              <p:nvPr/>
            </p:nvSpPr>
            <p:spPr>
              <a:xfrm>
                <a:off x="5264030" y="4063567"/>
                <a:ext cx="32588" cy="12129"/>
              </a:xfrm>
              <a:custGeom>
                <a:avLst/>
                <a:gdLst>
                  <a:gd name="connsiteX0" fmla="*/ 0 w 32588"/>
                  <a:gd name="connsiteY0" fmla="*/ 12129 h 12129"/>
                  <a:gd name="connsiteX1" fmla="*/ 32589 w 32588"/>
                  <a:gd name="connsiteY1" fmla="*/ 12129 h 12129"/>
                  <a:gd name="connsiteX2" fmla="*/ 31311 w 32588"/>
                  <a:gd name="connsiteY2" fmla="*/ 0 h 12129"/>
                  <a:gd name="connsiteX3" fmla="*/ 1278 w 32588"/>
                  <a:gd name="connsiteY3" fmla="*/ 0 h 12129"/>
                </a:gdLst>
                <a:ahLst/>
                <a:cxnLst>
                  <a:cxn ang="0">
                    <a:pos x="connsiteX0" y="connsiteY0"/>
                  </a:cxn>
                  <a:cxn ang="0">
                    <a:pos x="connsiteX1" y="connsiteY1"/>
                  </a:cxn>
                  <a:cxn ang="0">
                    <a:pos x="connsiteX2" y="connsiteY2"/>
                  </a:cxn>
                  <a:cxn ang="0">
                    <a:pos x="connsiteX3" y="connsiteY3"/>
                  </a:cxn>
                </a:cxnLst>
                <a:rect l="l" t="t" r="r" b="b"/>
                <a:pathLst>
                  <a:path w="32588" h="12129">
                    <a:moveTo>
                      <a:pt x="0" y="12129"/>
                    </a:moveTo>
                    <a:lnTo>
                      <a:pt x="32589" y="12129"/>
                    </a:lnTo>
                    <a:lnTo>
                      <a:pt x="31311" y="0"/>
                    </a:lnTo>
                    <a:lnTo>
                      <a:pt x="1278" y="0"/>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675D3F98-571B-4D82-A362-447291A0BA62}"/>
                  </a:ext>
                </a:extLst>
              </p:cNvPr>
              <p:cNvSpPr/>
              <p:nvPr/>
            </p:nvSpPr>
            <p:spPr>
              <a:xfrm>
                <a:off x="5200769" y="4027817"/>
                <a:ext cx="2555" cy="7660"/>
              </a:xfrm>
              <a:custGeom>
                <a:avLst/>
                <a:gdLst>
                  <a:gd name="connsiteX0" fmla="*/ 0 w 2555"/>
                  <a:gd name="connsiteY0" fmla="*/ 0 h 7660"/>
                  <a:gd name="connsiteX1" fmla="*/ 2556 w 2555"/>
                  <a:gd name="connsiteY1" fmla="*/ 0 h 7660"/>
                  <a:gd name="connsiteX2" fmla="*/ 2556 w 2555"/>
                  <a:gd name="connsiteY2" fmla="*/ 7661 h 7660"/>
                  <a:gd name="connsiteX3" fmla="*/ 0 w 2555"/>
                  <a:gd name="connsiteY3" fmla="*/ 7661 h 7660"/>
                </a:gdLst>
                <a:ahLst/>
                <a:cxnLst>
                  <a:cxn ang="0">
                    <a:pos x="connsiteX0" y="connsiteY0"/>
                  </a:cxn>
                  <a:cxn ang="0">
                    <a:pos x="connsiteX1" y="connsiteY1"/>
                  </a:cxn>
                  <a:cxn ang="0">
                    <a:pos x="connsiteX2" y="connsiteY2"/>
                  </a:cxn>
                  <a:cxn ang="0">
                    <a:pos x="connsiteX3" y="connsiteY3"/>
                  </a:cxn>
                </a:cxnLst>
                <a:rect l="l" t="t" r="r" b="b"/>
                <a:pathLst>
                  <a:path w="2555" h="7660">
                    <a:moveTo>
                      <a:pt x="0" y="0"/>
                    </a:moveTo>
                    <a:lnTo>
                      <a:pt x="2556" y="0"/>
                    </a:lnTo>
                    <a:lnTo>
                      <a:pt x="2556" y="7661"/>
                    </a:lnTo>
                    <a:lnTo>
                      <a:pt x="0" y="7661"/>
                    </a:lnTo>
                    <a:close/>
                  </a:path>
                </a:pathLst>
              </a:custGeom>
              <a:grpFill/>
              <a:ln w="6390"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93A522A3-864C-4723-9950-9965E9DAC059}"/>
                  </a:ext>
                </a:extLst>
              </p:cNvPr>
              <p:cNvSpPr/>
              <p:nvPr/>
            </p:nvSpPr>
            <p:spPr>
              <a:xfrm>
                <a:off x="5263391" y="3994620"/>
                <a:ext cx="2555" cy="41495"/>
              </a:xfrm>
              <a:custGeom>
                <a:avLst/>
                <a:gdLst>
                  <a:gd name="connsiteX0" fmla="*/ 0 w 2555"/>
                  <a:gd name="connsiteY0" fmla="*/ 0 h 41495"/>
                  <a:gd name="connsiteX1" fmla="*/ 2556 w 2555"/>
                  <a:gd name="connsiteY1" fmla="*/ 0 h 41495"/>
                  <a:gd name="connsiteX2" fmla="*/ 2556 w 2555"/>
                  <a:gd name="connsiteY2" fmla="*/ 41496 h 41495"/>
                  <a:gd name="connsiteX3" fmla="*/ 0 w 2555"/>
                  <a:gd name="connsiteY3" fmla="*/ 41496 h 41495"/>
                </a:gdLst>
                <a:ahLst/>
                <a:cxnLst>
                  <a:cxn ang="0">
                    <a:pos x="connsiteX0" y="connsiteY0"/>
                  </a:cxn>
                  <a:cxn ang="0">
                    <a:pos x="connsiteX1" y="connsiteY1"/>
                  </a:cxn>
                  <a:cxn ang="0">
                    <a:pos x="connsiteX2" y="connsiteY2"/>
                  </a:cxn>
                  <a:cxn ang="0">
                    <a:pos x="connsiteX3" y="connsiteY3"/>
                  </a:cxn>
                </a:cxnLst>
                <a:rect l="l" t="t" r="r" b="b"/>
                <a:pathLst>
                  <a:path w="2555" h="41495">
                    <a:moveTo>
                      <a:pt x="0" y="0"/>
                    </a:moveTo>
                    <a:lnTo>
                      <a:pt x="2556" y="0"/>
                    </a:lnTo>
                    <a:lnTo>
                      <a:pt x="2556" y="41496"/>
                    </a:lnTo>
                    <a:lnTo>
                      <a:pt x="0" y="41496"/>
                    </a:ln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E7AB2D65-4D1C-43E6-B68D-C4A362144E4C}"/>
                  </a:ext>
                </a:extLst>
              </p:cNvPr>
              <p:cNvSpPr/>
              <p:nvPr/>
            </p:nvSpPr>
            <p:spPr>
              <a:xfrm>
                <a:off x="5357323" y="3972914"/>
                <a:ext cx="2555" cy="63201"/>
              </a:xfrm>
              <a:custGeom>
                <a:avLst/>
                <a:gdLst>
                  <a:gd name="connsiteX0" fmla="*/ 0 w 2555"/>
                  <a:gd name="connsiteY0" fmla="*/ 0 h 63201"/>
                  <a:gd name="connsiteX1" fmla="*/ 2556 w 2555"/>
                  <a:gd name="connsiteY1" fmla="*/ 0 h 63201"/>
                  <a:gd name="connsiteX2" fmla="*/ 2556 w 2555"/>
                  <a:gd name="connsiteY2" fmla="*/ 63202 h 63201"/>
                  <a:gd name="connsiteX3" fmla="*/ 0 w 2555"/>
                  <a:gd name="connsiteY3" fmla="*/ 63202 h 63201"/>
                </a:gdLst>
                <a:ahLst/>
                <a:cxnLst>
                  <a:cxn ang="0">
                    <a:pos x="connsiteX0" y="connsiteY0"/>
                  </a:cxn>
                  <a:cxn ang="0">
                    <a:pos x="connsiteX1" y="connsiteY1"/>
                  </a:cxn>
                  <a:cxn ang="0">
                    <a:pos x="connsiteX2" y="connsiteY2"/>
                  </a:cxn>
                  <a:cxn ang="0">
                    <a:pos x="connsiteX3" y="connsiteY3"/>
                  </a:cxn>
                </a:cxnLst>
                <a:rect l="l" t="t" r="r" b="b"/>
                <a:pathLst>
                  <a:path w="2555" h="63201">
                    <a:moveTo>
                      <a:pt x="0" y="0"/>
                    </a:moveTo>
                    <a:lnTo>
                      <a:pt x="2556" y="0"/>
                    </a:lnTo>
                    <a:lnTo>
                      <a:pt x="2556" y="63202"/>
                    </a:lnTo>
                    <a:lnTo>
                      <a:pt x="0" y="63202"/>
                    </a:ln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2F079887-93F5-4786-A138-FF22A081E806}"/>
                  </a:ext>
                </a:extLst>
              </p:cNvPr>
              <p:cNvSpPr/>
              <p:nvPr/>
            </p:nvSpPr>
            <p:spPr>
              <a:xfrm>
                <a:off x="5180322" y="3919927"/>
                <a:ext cx="200643" cy="131509"/>
              </a:xfrm>
              <a:custGeom>
                <a:avLst/>
                <a:gdLst>
                  <a:gd name="connsiteX0" fmla="*/ 184669 w 200643"/>
                  <a:gd name="connsiteY0" fmla="*/ 0 h 131509"/>
                  <a:gd name="connsiteX1" fmla="*/ 15336 w 200643"/>
                  <a:gd name="connsiteY1" fmla="*/ 0 h 131509"/>
                  <a:gd name="connsiteX2" fmla="*/ 0 w 200643"/>
                  <a:gd name="connsiteY2" fmla="*/ 15960 h 131509"/>
                  <a:gd name="connsiteX3" fmla="*/ 0 w 200643"/>
                  <a:gd name="connsiteY3" fmla="*/ 115550 h 131509"/>
                  <a:gd name="connsiteX4" fmla="*/ 15336 w 200643"/>
                  <a:gd name="connsiteY4" fmla="*/ 131510 h 131509"/>
                  <a:gd name="connsiteX5" fmla="*/ 79874 w 200643"/>
                  <a:gd name="connsiteY5" fmla="*/ 131510 h 131509"/>
                  <a:gd name="connsiteX6" fmla="*/ 120770 w 200643"/>
                  <a:gd name="connsiteY6" fmla="*/ 131510 h 131509"/>
                  <a:gd name="connsiteX7" fmla="*/ 185308 w 200643"/>
                  <a:gd name="connsiteY7" fmla="*/ 131510 h 131509"/>
                  <a:gd name="connsiteX8" fmla="*/ 200644 w 200643"/>
                  <a:gd name="connsiteY8" fmla="*/ 115550 h 131509"/>
                  <a:gd name="connsiteX9" fmla="*/ 200644 w 200643"/>
                  <a:gd name="connsiteY9" fmla="*/ 15960 h 131509"/>
                  <a:gd name="connsiteX10" fmla="*/ 184669 w 200643"/>
                  <a:gd name="connsiteY10" fmla="*/ 0 h 131509"/>
                  <a:gd name="connsiteX11" fmla="*/ 11502 w 200643"/>
                  <a:gd name="connsiteY11" fmla="*/ 70224 h 131509"/>
                  <a:gd name="connsiteX12" fmla="*/ 89459 w 200643"/>
                  <a:gd name="connsiteY12" fmla="*/ 28728 h 131509"/>
                  <a:gd name="connsiteX13" fmla="*/ 96488 w 200643"/>
                  <a:gd name="connsiteY13" fmla="*/ 29366 h 131509"/>
                  <a:gd name="connsiteX14" fmla="*/ 117575 w 200643"/>
                  <a:gd name="connsiteY14" fmla="*/ 47241 h 131509"/>
                  <a:gd name="connsiteX15" fmla="*/ 168055 w 200643"/>
                  <a:gd name="connsiteY15" fmla="*/ 14683 h 131509"/>
                  <a:gd name="connsiteX16" fmla="*/ 164221 w 200643"/>
                  <a:gd name="connsiteY16" fmla="*/ 8299 h 131509"/>
                  <a:gd name="connsiteX17" fmla="*/ 171250 w 200643"/>
                  <a:gd name="connsiteY17" fmla="*/ 2553 h 131509"/>
                  <a:gd name="connsiteX18" fmla="*/ 186586 w 200643"/>
                  <a:gd name="connsiteY18" fmla="*/ 4468 h 131509"/>
                  <a:gd name="connsiteX19" fmla="*/ 186586 w 200643"/>
                  <a:gd name="connsiteY19" fmla="*/ 4468 h 131509"/>
                  <a:gd name="connsiteX20" fmla="*/ 188503 w 200643"/>
                  <a:gd name="connsiteY20" fmla="*/ 5107 h 131509"/>
                  <a:gd name="connsiteX21" fmla="*/ 189142 w 200643"/>
                  <a:gd name="connsiteY21" fmla="*/ 5107 h 131509"/>
                  <a:gd name="connsiteX22" fmla="*/ 191059 w 200643"/>
                  <a:gd name="connsiteY22" fmla="*/ 7022 h 131509"/>
                  <a:gd name="connsiteX23" fmla="*/ 191059 w 200643"/>
                  <a:gd name="connsiteY23" fmla="*/ 7022 h 131509"/>
                  <a:gd name="connsiteX24" fmla="*/ 191059 w 200643"/>
                  <a:gd name="connsiteY24" fmla="*/ 7022 h 131509"/>
                  <a:gd name="connsiteX25" fmla="*/ 191059 w 200643"/>
                  <a:gd name="connsiteY25" fmla="*/ 7660 h 131509"/>
                  <a:gd name="connsiteX26" fmla="*/ 191698 w 200643"/>
                  <a:gd name="connsiteY26" fmla="*/ 9576 h 131509"/>
                  <a:gd name="connsiteX27" fmla="*/ 191698 w 200643"/>
                  <a:gd name="connsiteY27" fmla="*/ 10214 h 131509"/>
                  <a:gd name="connsiteX28" fmla="*/ 191698 w 200643"/>
                  <a:gd name="connsiteY28" fmla="*/ 12129 h 131509"/>
                  <a:gd name="connsiteX29" fmla="*/ 191698 w 200643"/>
                  <a:gd name="connsiteY29" fmla="*/ 12768 h 131509"/>
                  <a:gd name="connsiteX30" fmla="*/ 186586 w 200643"/>
                  <a:gd name="connsiteY30" fmla="*/ 27451 h 131509"/>
                  <a:gd name="connsiteX31" fmla="*/ 180835 w 200643"/>
                  <a:gd name="connsiteY31" fmla="*/ 31920 h 131509"/>
                  <a:gd name="connsiteX32" fmla="*/ 178918 w 200643"/>
                  <a:gd name="connsiteY32" fmla="*/ 31281 h 131509"/>
                  <a:gd name="connsiteX33" fmla="*/ 174445 w 200643"/>
                  <a:gd name="connsiteY33" fmla="*/ 25536 h 131509"/>
                  <a:gd name="connsiteX34" fmla="*/ 120770 w 200643"/>
                  <a:gd name="connsiteY34" fmla="*/ 60648 h 131509"/>
                  <a:gd name="connsiteX35" fmla="*/ 113102 w 200643"/>
                  <a:gd name="connsiteY35" fmla="*/ 60009 h 131509"/>
                  <a:gd name="connsiteX36" fmla="*/ 92015 w 200643"/>
                  <a:gd name="connsiteY36" fmla="*/ 42134 h 131509"/>
                  <a:gd name="connsiteX37" fmla="*/ 17892 w 200643"/>
                  <a:gd name="connsiteY37" fmla="*/ 81715 h 131509"/>
                  <a:gd name="connsiteX38" fmla="*/ 14697 w 200643"/>
                  <a:gd name="connsiteY38" fmla="*/ 82353 h 131509"/>
                  <a:gd name="connsiteX39" fmla="*/ 8946 w 200643"/>
                  <a:gd name="connsiteY39" fmla="*/ 79161 h 131509"/>
                  <a:gd name="connsiteX40" fmla="*/ 11502 w 200643"/>
                  <a:gd name="connsiteY40" fmla="*/ 70224 h 131509"/>
                  <a:gd name="connsiteX41" fmla="*/ 35783 w 200643"/>
                  <a:gd name="connsiteY41" fmla="*/ 122572 h 131509"/>
                  <a:gd name="connsiteX42" fmla="*/ 29394 w 200643"/>
                  <a:gd name="connsiteY42" fmla="*/ 128956 h 131509"/>
                  <a:gd name="connsiteX43" fmla="*/ 14058 w 200643"/>
                  <a:gd name="connsiteY43" fmla="*/ 128956 h 131509"/>
                  <a:gd name="connsiteX44" fmla="*/ 7668 w 200643"/>
                  <a:gd name="connsiteY44" fmla="*/ 122572 h 131509"/>
                  <a:gd name="connsiteX45" fmla="*/ 7668 w 200643"/>
                  <a:gd name="connsiteY45" fmla="*/ 102144 h 131509"/>
                  <a:gd name="connsiteX46" fmla="*/ 14058 w 200643"/>
                  <a:gd name="connsiteY46" fmla="*/ 95760 h 131509"/>
                  <a:gd name="connsiteX47" fmla="*/ 29394 w 200643"/>
                  <a:gd name="connsiteY47" fmla="*/ 95760 h 131509"/>
                  <a:gd name="connsiteX48" fmla="*/ 35783 w 200643"/>
                  <a:gd name="connsiteY48" fmla="*/ 102144 h 131509"/>
                  <a:gd name="connsiteX49" fmla="*/ 35783 w 200643"/>
                  <a:gd name="connsiteY49" fmla="*/ 122572 h 131509"/>
                  <a:gd name="connsiteX50" fmla="*/ 67094 w 200643"/>
                  <a:gd name="connsiteY50" fmla="*/ 122572 h 131509"/>
                  <a:gd name="connsiteX51" fmla="*/ 60704 w 200643"/>
                  <a:gd name="connsiteY51" fmla="*/ 128956 h 131509"/>
                  <a:gd name="connsiteX52" fmla="*/ 45368 w 200643"/>
                  <a:gd name="connsiteY52" fmla="*/ 128956 h 131509"/>
                  <a:gd name="connsiteX53" fmla="*/ 38978 w 200643"/>
                  <a:gd name="connsiteY53" fmla="*/ 122572 h 131509"/>
                  <a:gd name="connsiteX54" fmla="*/ 38978 w 200643"/>
                  <a:gd name="connsiteY54" fmla="*/ 85545 h 131509"/>
                  <a:gd name="connsiteX55" fmla="*/ 45368 w 200643"/>
                  <a:gd name="connsiteY55" fmla="*/ 79161 h 131509"/>
                  <a:gd name="connsiteX56" fmla="*/ 60704 w 200643"/>
                  <a:gd name="connsiteY56" fmla="*/ 79161 h 131509"/>
                  <a:gd name="connsiteX57" fmla="*/ 67094 w 200643"/>
                  <a:gd name="connsiteY57" fmla="*/ 85545 h 131509"/>
                  <a:gd name="connsiteX58" fmla="*/ 67094 w 200643"/>
                  <a:gd name="connsiteY58" fmla="*/ 122572 h 131509"/>
                  <a:gd name="connsiteX59" fmla="*/ 98405 w 200643"/>
                  <a:gd name="connsiteY59" fmla="*/ 122572 h 131509"/>
                  <a:gd name="connsiteX60" fmla="*/ 92015 w 200643"/>
                  <a:gd name="connsiteY60" fmla="*/ 128956 h 131509"/>
                  <a:gd name="connsiteX61" fmla="*/ 76679 w 200643"/>
                  <a:gd name="connsiteY61" fmla="*/ 128956 h 131509"/>
                  <a:gd name="connsiteX62" fmla="*/ 70289 w 200643"/>
                  <a:gd name="connsiteY62" fmla="*/ 122572 h 131509"/>
                  <a:gd name="connsiteX63" fmla="*/ 70289 w 200643"/>
                  <a:gd name="connsiteY63" fmla="*/ 68308 h 131509"/>
                  <a:gd name="connsiteX64" fmla="*/ 76679 w 200643"/>
                  <a:gd name="connsiteY64" fmla="*/ 61924 h 131509"/>
                  <a:gd name="connsiteX65" fmla="*/ 92015 w 200643"/>
                  <a:gd name="connsiteY65" fmla="*/ 61924 h 131509"/>
                  <a:gd name="connsiteX66" fmla="*/ 98405 w 200643"/>
                  <a:gd name="connsiteY66" fmla="*/ 68308 h 131509"/>
                  <a:gd name="connsiteX67" fmla="*/ 98405 w 200643"/>
                  <a:gd name="connsiteY67" fmla="*/ 122572 h 131509"/>
                  <a:gd name="connsiteX68" fmla="*/ 129716 w 200643"/>
                  <a:gd name="connsiteY68" fmla="*/ 122572 h 131509"/>
                  <a:gd name="connsiteX69" fmla="*/ 123326 w 200643"/>
                  <a:gd name="connsiteY69" fmla="*/ 128956 h 131509"/>
                  <a:gd name="connsiteX70" fmla="*/ 107990 w 200643"/>
                  <a:gd name="connsiteY70" fmla="*/ 128956 h 131509"/>
                  <a:gd name="connsiteX71" fmla="*/ 101600 w 200643"/>
                  <a:gd name="connsiteY71" fmla="*/ 122572 h 131509"/>
                  <a:gd name="connsiteX72" fmla="*/ 101600 w 200643"/>
                  <a:gd name="connsiteY72" fmla="*/ 80438 h 131509"/>
                  <a:gd name="connsiteX73" fmla="*/ 107990 w 200643"/>
                  <a:gd name="connsiteY73" fmla="*/ 74054 h 131509"/>
                  <a:gd name="connsiteX74" fmla="*/ 123326 w 200643"/>
                  <a:gd name="connsiteY74" fmla="*/ 74054 h 131509"/>
                  <a:gd name="connsiteX75" fmla="*/ 129716 w 200643"/>
                  <a:gd name="connsiteY75" fmla="*/ 80438 h 131509"/>
                  <a:gd name="connsiteX76" fmla="*/ 129716 w 200643"/>
                  <a:gd name="connsiteY76" fmla="*/ 122572 h 131509"/>
                  <a:gd name="connsiteX77" fmla="*/ 161027 w 200643"/>
                  <a:gd name="connsiteY77" fmla="*/ 122572 h 131509"/>
                  <a:gd name="connsiteX78" fmla="*/ 154637 w 200643"/>
                  <a:gd name="connsiteY78" fmla="*/ 128956 h 131509"/>
                  <a:gd name="connsiteX79" fmla="*/ 139301 w 200643"/>
                  <a:gd name="connsiteY79" fmla="*/ 128956 h 131509"/>
                  <a:gd name="connsiteX80" fmla="*/ 132911 w 200643"/>
                  <a:gd name="connsiteY80" fmla="*/ 122572 h 131509"/>
                  <a:gd name="connsiteX81" fmla="*/ 132911 w 200643"/>
                  <a:gd name="connsiteY81" fmla="*/ 67032 h 131509"/>
                  <a:gd name="connsiteX82" fmla="*/ 139301 w 200643"/>
                  <a:gd name="connsiteY82" fmla="*/ 60648 h 131509"/>
                  <a:gd name="connsiteX83" fmla="*/ 154637 w 200643"/>
                  <a:gd name="connsiteY83" fmla="*/ 60648 h 131509"/>
                  <a:gd name="connsiteX84" fmla="*/ 161027 w 200643"/>
                  <a:gd name="connsiteY84" fmla="*/ 67032 h 131509"/>
                  <a:gd name="connsiteX85" fmla="*/ 161027 w 200643"/>
                  <a:gd name="connsiteY85" fmla="*/ 122572 h 131509"/>
                  <a:gd name="connsiteX86" fmla="*/ 192337 w 200643"/>
                  <a:gd name="connsiteY86" fmla="*/ 122572 h 131509"/>
                  <a:gd name="connsiteX87" fmla="*/ 185947 w 200643"/>
                  <a:gd name="connsiteY87" fmla="*/ 128956 h 131509"/>
                  <a:gd name="connsiteX88" fmla="*/ 170611 w 200643"/>
                  <a:gd name="connsiteY88" fmla="*/ 128956 h 131509"/>
                  <a:gd name="connsiteX89" fmla="*/ 164221 w 200643"/>
                  <a:gd name="connsiteY89" fmla="*/ 122572 h 131509"/>
                  <a:gd name="connsiteX90" fmla="*/ 164221 w 200643"/>
                  <a:gd name="connsiteY90" fmla="*/ 46603 h 131509"/>
                  <a:gd name="connsiteX91" fmla="*/ 170611 w 200643"/>
                  <a:gd name="connsiteY91" fmla="*/ 40219 h 131509"/>
                  <a:gd name="connsiteX92" fmla="*/ 185947 w 200643"/>
                  <a:gd name="connsiteY92" fmla="*/ 40219 h 131509"/>
                  <a:gd name="connsiteX93" fmla="*/ 192337 w 200643"/>
                  <a:gd name="connsiteY93" fmla="*/ 46603 h 131509"/>
                  <a:gd name="connsiteX94" fmla="*/ 192337 w 200643"/>
                  <a:gd name="connsiteY94" fmla="*/ 122572 h 13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00643" h="131509">
                    <a:moveTo>
                      <a:pt x="184669" y="0"/>
                    </a:moveTo>
                    <a:lnTo>
                      <a:pt x="15336" y="0"/>
                    </a:lnTo>
                    <a:cubicBezTo>
                      <a:pt x="6390" y="0"/>
                      <a:pt x="0" y="7022"/>
                      <a:pt x="0" y="15960"/>
                    </a:cubicBezTo>
                    <a:lnTo>
                      <a:pt x="0" y="115550"/>
                    </a:lnTo>
                    <a:cubicBezTo>
                      <a:pt x="0" y="124488"/>
                      <a:pt x="7029" y="131510"/>
                      <a:pt x="15336" y="131510"/>
                    </a:cubicBezTo>
                    <a:lnTo>
                      <a:pt x="79874" y="131510"/>
                    </a:lnTo>
                    <a:lnTo>
                      <a:pt x="120770" y="131510"/>
                    </a:lnTo>
                    <a:lnTo>
                      <a:pt x="185308" y="131510"/>
                    </a:lnTo>
                    <a:cubicBezTo>
                      <a:pt x="194254" y="131510"/>
                      <a:pt x="200644" y="124488"/>
                      <a:pt x="200644" y="115550"/>
                    </a:cubicBezTo>
                    <a:lnTo>
                      <a:pt x="200644" y="15960"/>
                    </a:lnTo>
                    <a:cubicBezTo>
                      <a:pt x="200644" y="7022"/>
                      <a:pt x="193615" y="0"/>
                      <a:pt x="184669" y="0"/>
                    </a:cubicBezTo>
                    <a:close/>
                    <a:moveTo>
                      <a:pt x="11502" y="70224"/>
                    </a:moveTo>
                    <a:lnTo>
                      <a:pt x="89459" y="28728"/>
                    </a:lnTo>
                    <a:cubicBezTo>
                      <a:pt x="92015" y="27451"/>
                      <a:pt x="94571" y="28089"/>
                      <a:pt x="96488" y="29366"/>
                    </a:cubicBezTo>
                    <a:lnTo>
                      <a:pt x="117575" y="47241"/>
                    </a:lnTo>
                    <a:lnTo>
                      <a:pt x="168055" y="14683"/>
                    </a:lnTo>
                    <a:cubicBezTo>
                      <a:pt x="165499" y="13406"/>
                      <a:pt x="164221" y="10852"/>
                      <a:pt x="164221" y="8299"/>
                    </a:cubicBezTo>
                    <a:cubicBezTo>
                      <a:pt x="164860" y="5107"/>
                      <a:pt x="168055" y="1915"/>
                      <a:pt x="171250" y="2553"/>
                    </a:cubicBezTo>
                    <a:lnTo>
                      <a:pt x="186586" y="4468"/>
                    </a:lnTo>
                    <a:cubicBezTo>
                      <a:pt x="186586" y="4468"/>
                      <a:pt x="186586" y="4468"/>
                      <a:pt x="186586" y="4468"/>
                    </a:cubicBezTo>
                    <a:cubicBezTo>
                      <a:pt x="187225" y="4468"/>
                      <a:pt x="187864" y="5107"/>
                      <a:pt x="188503" y="5107"/>
                    </a:cubicBezTo>
                    <a:cubicBezTo>
                      <a:pt x="188503" y="5107"/>
                      <a:pt x="189142" y="5107"/>
                      <a:pt x="189142" y="5107"/>
                    </a:cubicBezTo>
                    <a:cubicBezTo>
                      <a:pt x="189781" y="5745"/>
                      <a:pt x="190420" y="6384"/>
                      <a:pt x="191059" y="7022"/>
                    </a:cubicBezTo>
                    <a:cubicBezTo>
                      <a:pt x="191059" y="7022"/>
                      <a:pt x="191059" y="7022"/>
                      <a:pt x="191059" y="7022"/>
                    </a:cubicBezTo>
                    <a:cubicBezTo>
                      <a:pt x="191059" y="7022"/>
                      <a:pt x="191059" y="7022"/>
                      <a:pt x="191059" y="7022"/>
                    </a:cubicBezTo>
                    <a:cubicBezTo>
                      <a:pt x="191059" y="7022"/>
                      <a:pt x="191059" y="7022"/>
                      <a:pt x="191059" y="7660"/>
                    </a:cubicBezTo>
                    <a:cubicBezTo>
                      <a:pt x="191698" y="8299"/>
                      <a:pt x="191698" y="8937"/>
                      <a:pt x="191698" y="9576"/>
                    </a:cubicBezTo>
                    <a:cubicBezTo>
                      <a:pt x="191698" y="9576"/>
                      <a:pt x="191698" y="10214"/>
                      <a:pt x="191698" y="10214"/>
                    </a:cubicBezTo>
                    <a:cubicBezTo>
                      <a:pt x="191698" y="10852"/>
                      <a:pt x="191698" y="11491"/>
                      <a:pt x="191698" y="12129"/>
                    </a:cubicBezTo>
                    <a:cubicBezTo>
                      <a:pt x="191698" y="12129"/>
                      <a:pt x="191698" y="12129"/>
                      <a:pt x="191698" y="12768"/>
                    </a:cubicBezTo>
                    <a:lnTo>
                      <a:pt x="186586" y="27451"/>
                    </a:lnTo>
                    <a:cubicBezTo>
                      <a:pt x="185947" y="30004"/>
                      <a:pt x="183391" y="31920"/>
                      <a:pt x="180835" y="31920"/>
                    </a:cubicBezTo>
                    <a:cubicBezTo>
                      <a:pt x="180196" y="31920"/>
                      <a:pt x="179557" y="31920"/>
                      <a:pt x="178918" y="31281"/>
                    </a:cubicBezTo>
                    <a:cubicBezTo>
                      <a:pt x="176362" y="30643"/>
                      <a:pt x="175084" y="28089"/>
                      <a:pt x="174445" y="25536"/>
                    </a:cubicBezTo>
                    <a:lnTo>
                      <a:pt x="120770" y="60648"/>
                    </a:lnTo>
                    <a:cubicBezTo>
                      <a:pt x="118214" y="61924"/>
                      <a:pt x="115019" y="61924"/>
                      <a:pt x="113102" y="60009"/>
                    </a:cubicBezTo>
                    <a:lnTo>
                      <a:pt x="92015" y="42134"/>
                    </a:lnTo>
                    <a:lnTo>
                      <a:pt x="17892" y="81715"/>
                    </a:lnTo>
                    <a:cubicBezTo>
                      <a:pt x="17253" y="82353"/>
                      <a:pt x="15975" y="82353"/>
                      <a:pt x="14697" y="82353"/>
                    </a:cubicBezTo>
                    <a:cubicBezTo>
                      <a:pt x="12141" y="82353"/>
                      <a:pt x="10224" y="81076"/>
                      <a:pt x="8946" y="79161"/>
                    </a:cubicBezTo>
                    <a:cubicBezTo>
                      <a:pt x="7029" y="75969"/>
                      <a:pt x="8307" y="72139"/>
                      <a:pt x="11502" y="70224"/>
                    </a:cubicBezTo>
                    <a:close/>
                    <a:moveTo>
                      <a:pt x="35783" y="122572"/>
                    </a:moveTo>
                    <a:cubicBezTo>
                      <a:pt x="35783" y="126403"/>
                      <a:pt x="33228" y="128956"/>
                      <a:pt x="29394" y="128956"/>
                    </a:cubicBezTo>
                    <a:lnTo>
                      <a:pt x="14058" y="128956"/>
                    </a:lnTo>
                    <a:cubicBezTo>
                      <a:pt x="10224" y="128956"/>
                      <a:pt x="7668" y="126403"/>
                      <a:pt x="7668" y="122572"/>
                    </a:cubicBezTo>
                    <a:lnTo>
                      <a:pt x="7668" y="102144"/>
                    </a:lnTo>
                    <a:cubicBezTo>
                      <a:pt x="7668" y="98313"/>
                      <a:pt x="10224" y="95760"/>
                      <a:pt x="14058" y="95760"/>
                    </a:cubicBezTo>
                    <a:lnTo>
                      <a:pt x="29394" y="95760"/>
                    </a:lnTo>
                    <a:cubicBezTo>
                      <a:pt x="33228" y="95760"/>
                      <a:pt x="35783" y="98313"/>
                      <a:pt x="35783" y="102144"/>
                    </a:cubicBezTo>
                    <a:lnTo>
                      <a:pt x="35783" y="122572"/>
                    </a:lnTo>
                    <a:close/>
                    <a:moveTo>
                      <a:pt x="67094" y="122572"/>
                    </a:moveTo>
                    <a:cubicBezTo>
                      <a:pt x="67094" y="126403"/>
                      <a:pt x="64538" y="128956"/>
                      <a:pt x="60704" y="128956"/>
                    </a:cubicBezTo>
                    <a:lnTo>
                      <a:pt x="45368" y="128956"/>
                    </a:lnTo>
                    <a:cubicBezTo>
                      <a:pt x="41535" y="128956"/>
                      <a:pt x="38978" y="126403"/>
                      <a:pt x="38978" y="122572"/>
                    </a:cubicBezTo>
                    <a:lnTo>
                      <a:pt x="38978" y="85545"/>
                    </a:lnTo>
                    <a:cubicBezTo>
                      <a:pt x="38978" y="81715"/>
                      <a:pt x="41535" y="79161"/>
                      <a:pt x="45368" y="79161"/>
                    </a:cubicBezTo>
                    <a:lnTo>
                      <a:pt x="60704" y="79161"/>
                    </a:lnTo>
                    <a:cubicBezTo>
                      <a:pt x="64538" y="79161"/>
                      <a:pt x="67094" y="81715"/>
                      <a:pt x="67094" y="85545"/>
                    </a:cubicBezTo>
                    <a:lnTo>
                      <a:pt x="67094" y="122572"/>
                    </a:lnTo>
                    <a:close/>
                    <a:moveTo>
                      <a:pt x="98405" y="122572"/>
                    </a:moveTo>
                    <a:cubicBezTo>
                      <a:pt x="98405" y="126403"/>
                      <a:pt x="95849" y="128956"/>
                      <a:pt x="92015" y="128956"/>
                    </a:cubicBezTo>
                    <a:lnTo>
                      <a:pt x="76679" y="128956"/>
                    </a:lnTo>
                    <a:cubicBezTo>
                      <a:pt x="72845" y="128956"/>
                      <a:pt x="70289" y="126403"/>
                      <a:pt x="70289" y="122572"/>
                    </a:cubicBezTo>
                    <a:lnTo>
                      <a:pt x="70289" y="68308"/>
                    </a:lnTo>
                    <a:cubicBezTo>
                      <a:pt x="70289" y="64478"/>
                      <a:pt x="72845" y="61924"/>
                      <a:pt x="76679" y="61924"/>
                    </a:cubicBezTo>
                    <a:lnTo>
                      <a:pt x="92015" y="61924"/>
                    </a:lnTo>
                    <a:cubicBezTo>
                      <a:pt x="95849" y="61924"/>
                      <a:pt x="98405" y="64478"/>
                      <a:pt x="98405" y="68308"/>
                    </a:cubicBezTo>
                    <a:lnTo>
                      <a:pt x="98405" y="122572"/>
                    </a:lnTo>
                    <a:close/>
                    <a:moveTo>
                      <a:pt x="129716" y="122572"/>
                    </a:moveTo>
                    <a:cubicBezTo>
                      <a:pt x="129716" y="126403"/>
                      <a:pt x="127160" y="128956"/>
                      <a:pt x="123326" y="128956"/>
                    </a:cubicBezTo>
                    <a:lnTo>
                      <a:pt x="107990" y="128956"/>
                    </a:lnTo>
                    <a:cubicBezTo>
                      <a:pt x="104156" y="128956"/>
                      <a:pt x="101600" y="126403"/>
                      <a:pt x="101600" y="122572"/>
                    </a:cubicBezTo>
                    <a:lnTo>
                      <a:pt x="101600" y="80438"/>
                    </a:lnTo>
                    <a:cubicBezTo>
                      <a:pt x="101600" y="76608"/>
                      <a:pt x="104156" y="74054"/>
                      <a:pt x="107990" y="74054"/>
                    </a:cubicBezTo>
                    <a:lnTo>
                      <a:pt x="123326" y="74054"/>
                    </a:lnTo>
                    <a:cubicBezTo>
                      <a:pt x="127160" y="74054"/>
                      <a:pt x="129716" y="76608"/>
                      <a:pt x="129716" y="80438"/>
                    </a:cubicBezTo>
                    <a:lnTo>
                      <a:pt x="129716" y="122572"/>
                    </a:lnTo>
                    <a:close/>
                    <a:moveTo>
                      <a:pt x="161027" y="122572"/>
                    </a:moveTo>
                    <a:cubicBezTo>
                      <a:pt x="161027" y="126403"/>
                      <a:pt x="158470" y="128956"/>
                      <a:pt x="154637" y="128956"/>
                    </a:cubicBezTo>
                    <a:lnTo>
                      <a:pt x="139301" y="128956"/>
                    </a:lnTo>
                    <a:cubicBezTo>
                      <a:pt x="135467" y="128956"/>
                      <a:pt x="132911" y="126403"/>
                      <a:pt x="132911" y="122572"/>
                    </a:cubicBezTo>
                    <a:lnTo>
                      <a:pt x="132911" y="67032"/>
                    </a:lnTo>
                    <a:cubicBezTo>
                      <a:pt x="132911" y="63201"/>
                      <a:pt x="135467" y="60648"/>
                      <a:pt x="139301" y="60648"/>
                    </a:cubicBezTo>
                    <a:lnTo>
                      <a:pt x="154637" y="60648"/>
                    </a:lnTo>
                    <a:cubicBezTo>
                      <a:pt x="158470" y="60648"/>
                      <a:pt x="161027" y="63201"/>
                      <a:pt x="161027" y="67032"/>
                    </a:cubicBezTo>
                    <a:lnTo>
                      <a:pt x="161027" y="122572"/>
                    </a:lnTo>
                    <a:close/>
                    <a:moveTo>
                      <a:pt x="192337" y="122572"/>
                    </a:moveTo>
                    <a:cubicBezTo>
                      <a:pt x="192337" y="126403"/>
                      <a:pt x="189781" y="128956"/>
                      <a:pt x="185947" y="128956"/>
                    </a:cubicBezTo>
                    <a:lnTo>
                      <a:pt x="170611" y="128956"/>
                    </a:lnTo>
                    <a:cubicBezTo>
                      <a:pt x="166777" y="128956"/>
                      <a:pt x="164221" y="126403"/>
                      <a:pt x="164221" y="122572"/>
                    </a:cubicBezTo>
                    <a:lnTo>
                      <a:pt x="164221" y="46603"/>
                    </a:lnTo>
                    <a:cubicBezTo>
                      <a:pt x="164221" y="42772"/>
                      <a:pt x="166777" y="40219"/>
                      <a:pt x="170611" y="40219"/>
                    </a:cubicBezTo>
                    <a:lnTo>
                      <a:pt x="185947" y="40219"/>
                    </a:lnTo>
                    <a:cubicBezTo>
                      <a:pt x="189781" y="40219"/>
                      <a:pt x="192337" y="42772"/>
                      <a:pt x="192337" y="46603"/>
                    </a:cubicBezTo>
                    <a:lnTo>
                      <a:pt x="192337" y="122572"/>
                    </a:ln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7B5066AC-832E-48E9-943D-D686E0EC4146}"/>
                  </a:ext>
                </a:extLst>
              </p:cNvPr>
              <p:cNvSpPr/>
              <p:nvPr/>
            </p:nvSpPr>
            <p:spPr>
              <a:xfrm>
                <a:off x="5099808" y="3824168"/>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1 w 361670"/>
                  <a:gd name="connsiteY3" fmla="*/ 180667 h 361333"/>
                  <a:gd name="connsiteX4" fmla="*/ 180836 w 361670"/>
                  <a:gd name="connsiteY4" fmla="*/ 0 h 361333"/>
                  <a:gd name="connsiteX5" fmla="*/ 293937 w 361670"/>
                  <a:gd name="connsiteY5" fmla="*/ 210671 h 361333"/>
                  <a:gd name="connsiteX6" fmla="*/ 265822 w 361670"/>
                  <a:gd name="connsiteY6" fmla="*/ 239399 h 361333"/>
                  <a:gd name="connsiteX7" fmla="*/ 208951 w 361670"/>
                  <a:gd name="connsiteY7" fmla="*/ 239399 h 361333"/>
                  <a:gd name="connsiteX8" fmla="*/ 210868 w 361670"/>
                  <a:gd name="connsiteY8" fmla="*/ 253444 h 361333"/>
                  <a:gd name="connsiteX9" fmla="*/ 226204 w 361670"/>
                  <a:gd name="connsiteY9" fmla="*/ 253444 h 361333"/>
                  <a:gd name="connsiteX10" fmla="*/ 238984 w 361670"/>
                  <a:gd name="connsiteY10" fmla="*/ 266212 h 361333"/>
                  <a:gd name="connsiteX11" fmla="*/ 226204 w 361670"/>
                  <a:gd name="connsiteY11" fmla="*/ 278980 h 361333"/>
                  <a:gd name="connsiteX12" fmla="*/ 136745 w 361670"/>
                  <a:gd name="connsiteY12" fmla="*/ 278980 h 361333"/>
                  <a:gd name="connsiteX13" fmla="*/ 123965 w 361670"/>
                  <a:gd name="connsiteY13" fmla="*/ 266212 h 361333"/>
                  <a:gd name="connsiteX14" fmla="*/ 136745 w 361670"/>
                  <a:gd name="connsiteY14" fmla="*/ 253444 h 361333"/>
                  <a:gd name="connsiteX15" fmla="*/ 152081 w 361670"/>
                  <a:gd name="connsiteY15" fmla="*/ 253444 h 361333"/>
                  <a:gd name="connsiteX16" fmla="*/ 153998 w 361670"/>
                  <a:gd name="connsiteY16" fmla="*/ 239399 h 361333"/>
                  <a:gd name="connsiteX17" fmla="*/ 97127 w 361670"/>
                  <a:gd name="connsiteY17" fmla="*/ 239399 h 361333"/>
                  <a:gd name="connsiteX18" fmla="*/ 69012 w 361670"/>
                  <a:gd name="connsiteY18" fmla="*/ 210671 h 361333"/>
                  <a:gd name="connsiteX19" fmla="*/ 69012 w 361670"/>
                  <a:gd name="connsiteY19" fmla="*/ 111081 h 361333"/>
                  <a:gd name="connsiteX20" fmla="*/ 97127 w 361670"/>
                  <a:gd name="connsiteY20" fmla="*/ 82353 h 361333"/>
                  <a:gd name="connsiteX21" fmla="*/ 266460 w 361670"/>
                  <a:gd name="connsiteY21" fmla="*/ 82353 h 361333"/>
                  <a:gd name="connsiteX22" fmla="*/ 294576 w 361670"/>
                  <a:gd name="connsiteY22" fmla="*/ 111081 h 361333"/>
                  <a:gd name="connsiteX23" fmla="*/ 294576 w 361670"/>
                  <a:gd name="connsiteY23" fmla="*/ 210671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1670" h="361333">
                    <a:moveTo>
                      <a:pt x="180836" y="0"/>
                    </a:moveTo>
                    <a:cubicBezTo>
                      <a:pt x="80513" y="0"/>
                      <a:pt x="0" y="81076"/>
                      <a:pt x="0" y="180667"/>
                    </a:cubicBezTo>
                    <a:cubicBezTo>
                      <a:pt x="0" y="280895"/>
                      <a:pt x="81152" y="361333"/>
                      <a:pt x="180836" y="361333"/>
                    </a:cubicBezTo>
                    <a:cubicBezTo>
                      <a:pt x="281157" y="361333"/>
                      <a:pt x="361671" y="280257"/>
                      <a:pt x="361671" y="180667"/>
                    </a:cubicBezTo>
                    <a:cubicBezTo>
                      <a:pt x="361671" y="81076"/>
                      <a:pt x="280518" y="0"/>
                      <a:pt x="180836" y="0"/>
                    </a:cubicBezTo>
                    <a:close/>
                    <a:moveTo>
                      <a:pt x="293937" y="210671"/>
                    </a:moveTo>
                    <a:cubicBezTo>
                      <a:pt x="293937" y="226631"/>
                      <a:pt x="281157" y="239399"/>
                      <a:pt x="265822" y="239399"/>
                    </a:cubicBezTo>
                    <a:lnTo>
                      <a:pt x="208951" y="239399"/>
                    </a:lnTo>
                    <a:lnTo>
                      <a:pt x="210868" y="253444"/>
                    </a:lnTo>
                    <a:lnTo>
                      <a:pt x="226204" y="253444"/>
                    </a:lnTo>
                    <a:cubicBezTo>
                      <a:pt x="233233" y="253444"/>
                      <a:pt x="238984" y="259190"/>
                      <a:pt x="238984" y="266212"/>
                    </a:cubicBezTo>
                    <a:cubicBezTo>
                      <a:pt x="238984" y="273234"/>
                      <a:pt x="233233" y="278980"/>
                      <a:pt x="226204" y="278980"/>
                    </a:cubicBezTo>
                    <a:lnTo>
                      <a:pt x="136745" y="278980"/>
                    </a:lnTo>
                    <a:cubicBezTo>
                      <a:pt x="129716" y="278980"/>
                      <a:pt x="123965" y="273234"/>
                      <a:pt x="123965" y="266212"/>
                    </a:cubicBezTo>
                    <a:cubicBezTo>
                      <a:pt x="123965" y="259190"/>
                      <a:pt x="129716" y="253444"/>
                      <a:pt x="136745" y="253444"/>
                    </a:cubicBezTo>
                    <a:lnTo>
                      <a:pt x="152081" y="253444"/>
                    </a:lnTo>
                    <a:lnTo>
                      <a:pt x="153998" y="239399"/>
                    </a:lnTo>
                    <a:lnTo>
                      <a:pt x="97127" y="239399"/>
                    </a:lnTo>
                    <a:cubicBezTo>
                      <a:pt x="81152" y="239399"/>
                      <a:pt x="69012" y="226631"/>
                      <a:pt x="69012" y="210671"/>
                    </a:cubicBezTo>
                    <a:lnTo>
                      <a:pt x="69012" y="111081"/>
                    </a:lnTo>
                    <a:cubicBezTo>
                      <a:pt x="69012" y="95121"/>
                      <a:pt x="81792" y="82353"/>
                      <a:pt x="97127" y="82353"/>
                    </a:cubicBezTo>
                    <a:lnTo>
                      <a:pt x="266460" y="82353"/>
                    </a:lnTo>
                    <a:cubicBezTo>
                      <a:pt x="282435" y="82353"/>
                      <a:pt x="294576" y="95121"/>
                      <a:pt x="294576" y="111081"/>
                    </a:cubicBezTo>
                    <a:lnTo>
                      <a:pt x="294576" y="210671"/>
                    </a:lnTo>
                    <a:close/>
                  </a:path>
                </a:pathLst>
              </a:custGeom>
              <a:grpFill/>
              <a:ln w="6390" cap="flat">
                <a:noFill/>
                <a:prstDash val="solid"/>
                <a:miter/>
              </a:ln>
            </p:spPr>
            <p:txBody>
              <a:bodyPr rtlCol="0" anchor="ctr"/>
              <a:lstStyle/>
              <a:p>
                <a:endParaRPr lang="en-US"/>
              </a:p>
            </p:txBody>
          </p:sp>
        </p:grpSp>
      </p:grpSp>
      <p:sp>
        <p:nvSpPr>
          <p:cNvPr id="91" name="ZoneTexte 20">
            <a:extLst>
              <a:ext uri="{FF2B5EF4-FFF2-40B4-BE49-F238E27FC236}">
                <a16:creationId xmlns:a16="http://schemas.microsoft.com/office/drawing/2014/main" id="{3E4097B5-BE39-4B50-83BF-2EF4C7661B51}"/>
              </a:ext>
            </a:extLst>
          </p:cNvPr>
          <p:cNvSpPr txBox="1"/>
          <p:nvPr/>
        </p:nvSpPr>
        <p:spPr>
          <a:xfrm>
            <a:off x="8798544" y="5634213"/>
            <a:ext cx="1980000" cy="261610"/>
          </a:xfrm>
          <a:prstGeom prst="rect">
            <a:avLst/>
          </a:prstGeom>
          <a:noFill/>
        </p:spPr>
        <p:txBody>
          <a:bodyPr wrap="square" lIns="0" rtlCol="0">
            <a:spAutoFit/>
          </a:bodyPr>
          <a:lstStyle/>
          <a:p>
            <a:r>
              <a:rPr lang="fr-FR" sz="1100" dirty="0">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Protection des données</a:t>
            </a:r>
            <a:endParaRPr lang="fr-FR" sz="1100" dirty="0">
              <a:solidFill>
                <a:schemeClr val="tx1">
                  <a:lumMod val="75000"/>
                  <a:lumOff val="25000"/>
                </a:schemeClr>
              </a:solidFill>
              <a:latin typeface="Segoe UI Symbol" panose="020B0502040204020203" pitchFamily="34" charset="0"/>
              <a:ea typeface="Segoe UI Symbol" panose="020B0502040204020203" pitchFamily="34" charset="0"/>
            </a:endParaRPr>
          </a:p>
        </p:txBody>
      </p:sp>
      <p:sp>
        <p:nvSpPr>
          <p:cNvPr id="92" name="ZoneTexte 20">
            <a:extLst>
              <a:ext uri="{FF2B5EF4-FFF2-40B4-BE49-F238E27FC236}">
                <a16:creationId xmlns:a16="http://schemas.microsoft.com/office/drawing/2014/main" id="{B0DADA0D-97D0-4794-A9B6-2E358458206F}"/>
              </a:ext>
            </a:extLst>
          </p:cNvPr>
          <p:cNvSpPr txBox="1"/>
          <p:nvPr/>
        </p:nvSpPr>
        <p:spPr>
          <a:xfrm>
            <a:off x="8471729" y="6062977"/>
            <a:ext cx="2556000" cy="261610"/>
          </a:xfrm>
          <a:prstGeom prst="rect">
            <a:avLst/>
          </a:prstGeom>
          <a:noFill/>
        </p:spPr>
        <p:txBody>
          <a:bodyPr wrap="square" lIns="0" rtlCol="0">
            <a:spAutoFit/>
          </a:bodyPr>
          <a:lstStyle/>
          <a:p>
            <a:r>
              <a:rPr lang="fr-FR" sz="1100" dirty="0">
                <a:solidFill>
                  <a:schemeClr val="tx1">
                    <a:lumMod val="75000"/>
                    <a:lumOff val="25000"/>
                  </a:schemeClr>
                </a:solidFill>
                <a:latin typeface="Segoe UI Symbol" panose="020B0502040204020203" pitchFamily="34" charset="0"/>
                <a:ea typeface="Segoe UI Symbol" panose="020B0502040204020203" pitchFamily="34" charset="0"/>
                <a:cs typeface="Arial" panose="020B0604020202020204" pitchFamily="34" charset="0"/>
              </a:rPr>
              <a:t>Sécurité des Technologies Emergentes</a:t>
            </a:r>
          </a:p>
        </p:txBody>
      </p:sp>
      <p:sp>
        <p:nvSpPr>
          <p:cNvPr id="93" name="TextBox 51">
            <a:extLst>
              <a:ext uri="{FF2B5EF4-FFF2-40B4-BE49-F238E27FC236}">
                <a16:creationId xmlns:a16="http://schemas.microsoft.com/office/drawing/2014/main" id="{825895FD-2F1F-4DA8-9282-5BD6847F019B}"/>
              </a:ext>
            </a:extLst>
          </p:cNvPr>
          <p:cNvSpPr txBox="1"/>
          <p:nvPr/>
        </p:nvSpPr>
        <p:spPr>
          <a:xfrm>
            <a:off x="9010894" y="2309812"/>
            <a:ext cx="1176478" cy="276999"/>
          </a:xfrm>
          <a:prstGeom prst="rect">
            <a:avLst/>
          </a:prstGeom>
          <a:solidFill>
            <a:schemeClr val="bg1"/>
          </a:solidFill>
        </p:spPr>
        <p:txBody>
          <a:bodyPr wrap="square" rtlCol="0">
            <a:spAutoFit/>
          </a:bodyPr>
          <a:lstStyle/>
          <a:p>
            <a:pPr algn="ctr"/>
            <a:r>
              <a:rPr lang="en-US" sz="1200" b="1" dirty="0">
                <a:solidFill>
                  <a:schemeClr val="accent5"/>
                </a:solidFill>
              </a:rPr>
              <a:t>Cyber risk</a:t>
            </a:r>
          </a:p>
        </p:txBody>
      </p:sp>
      <p:grpSp>
        <p:nvGrpSpPr>
          <p:cNvPr id="94" name="Groupe 163">
            <a:extLst>
              <a:ext uri="{FF2B5EF4-FFF2-40B4-BE49-F238E27FC236}">
                <a16:creationId xmlns:a16="http://schemas.microsoft.com/office/drawing/2014/main" id="{582DCD18-4A22-47C3-AD77-C7816FD96487}"/>
              </a:ext>
            </a:extLst>
          </p:cNvPr>
          <p:cNvGrpSpPr/>
          <p:nvPr/>
        </p:nvGrpSpPr>
        <p:grpSpPr>
          <a:xfrm>
            <a:off x="2310064" y="1189041"/>
            <a:ext cx="9731331" cy="430887"/>
            <a:chOff x="2682630" y="1750338"/>
            <a:chExt cx="10576721" cy="430887"/>
          </a:xfrm>
        </p:grpSpPr>
        <p:sp>
          <p:nvSpPr>
            <p:cNvPr id="95" name="Rectangle 94">
              <a:extLst>
                <a:ext uri="{FF2B5EF4-FFF2-40B4-BE49-F238E27FC236}">
                  <a16:creationId xmlns:a16="http://schemas.microsoft.com/office/drawing/2014/main" id="{2BB5A16F-DA4D-4570-A722-5CFE2F4C8DC8}"/>
                </a:ext>
              </a:extLst>
            </p:cNvPr>
            <p:cNvSpPr/>
            <p:nvPr/>
          </p:nvSpPr>
          <p:spPr>
            <a:xfrm>
              <a:off x="2682630" y="1750338"/>
              <a:ext cx="10576721" cy="430887"/>
            </a:xfrm>
            <a:prstGeom prst="rect">
              <a:avLst/>
            </a:prstGeom>
          </p:spPr>
          <p:txBody>
            <a:bodyPr wrap="square">
              <a:spAutoFit/>
            </a:bodyPr>
            <a:lstStyle/>
            <a:p>
              <a:pPr lvl="1" algn="just" defTabSz="914389">
                <a:spcBef>
                  <a:spcPts val="635"/>
                </a:spcBef>
                <a:spcAft>
                  <a:spcPts val="635"/>
                </a:spcAft>
                <a:defRPr/>
              </a:pPr>
              <a:r>
                <a:rPr lang="fr-FR" sz="1100" dirty="0">
                  <a:solidFill>
                    <a:prstClr val="black"/>
                  </a:solidFill>
                  <a:ea typeface="Open Sans Light" panose="020B0306030504020204" pitchFamily="34" charset="0"/>
                  <a:cs typeface="Open Sans Light" panose="020B0306030504020204" pitchFamily="34" charset="0"/>
                </a:rPr>
                <a:t>Le cabinet Deloitte est un pionnier mondial dans le domaine de l’</a:t>
              </a:r>
              <a:r>
                <a:rPr lang="fr-FR" sz="1100" b="1" dirty="0">
                  <a:solidFill>
                    <a:prstClr val="black"/>
                  </a:solidFill>
                  <a:ea typeface="Open Sans Light" panose="020B0306030504020204" pitchFamily="34" charset="0"/>
                  <a:cs typeface="Open Sans Light" panose="020B0306030504020204" pitchFamily="34" charset="0"/>
                </a:rPr>
                <a:t>audit</a:t>
              </a:r>
              <a:r>
                <a:rPr lang="fr-FR" sz="1100" dirty="0">
                  <a:solidFill>
                    <a:prstClr val="black"/>
                  </a:solidFill>
                  <a:ea typeface="Open Sans Light" panose="020B0306030504020204" pitchFamily="34" charset="0"/>
                  <a:cs typeface="Open Sans Light" panose="020B0306030504020204" pitchFamily="34" charset="0"/>
                </a:rPr>
                <a:t> et du </a:t>
              </a:r>
              <a:r>
                <a:rPr lang="fr-FR" sz="1100" b="1" dirty="0">
                  <a:solidFill>
                    <a:prstClr val="black"/>
                  </a:solidFill>
                  <a:ea typeface="Open Sans Light" panose="020B0306030504020204" pitchFamily="34" charset="0"/>
                  <a:cs typeface="Open Sans Light" panose="020B0306030504020204" pitchFamily="34" charset="0"/>
                </a:rPr>
                <a:t>conseil</a:t>
              </a:r>
              <a:r>
                <a:rPr lang="fr-FR" sz="1100" dirty="0">
                  <a:solidFill>
                    <a:prstClr val="black"/>
                  </a:solidFill>
                  <a:ea typeface="Open Sans Light" panose="020B0306030504020204" pitchFamily="34" charset="0"/>
                  <a:cs typeface="Open Sans Light" panose="020B0306030504020204" pitchFamily="34" charset="0"/>
                </a:rPr>
                <a:t>. Il demeure en </a:t>
              </a:r>
              <a:r>
                <a:rPr lang="fr-FR" sz="1100" b="1" dirty="0">
                  <a:solidFill>
                    <a:prstClr val="black"/>
                  </a:solidFill>
                  <a:ea typeface="Open Sans Light" panose="020B0306030504020204" pitchFamily="34" charset="0"/>
                  <a:cs typeface="Open Sans Light" panose="020B0306030504020204" pitchFamily="34" charset="0"/>
                </a:rPr>
                <a:t>première position </a:t>
              </a:r>
              <a:r>
                <a:rPr lang="fr-FR" sz="1100" dirty="0">
                  <a:solidFill>
                    <a:prstClr val="black"/>
                  </a:solidFill>
                  <a:ea typeface="Open Sans Light" panose="020B0306030504020204" pitchFamily="34" charset="0"/>
                  <a:cs typeface="Open Sans Light" panose="020B0306030504020204" pitchFamily="34" charset="0"/>
                </a:rPr>
                <a:t>en termes de chiffre d’affaires et du nombre d’employés devançant ses principaux concurrents du classement des « </a:t>
              </a:r>
              <a:r>
                <a:rPr lang="fr-FR" sz="1100" b="1" dirty="0">
                  <a:solidFill>
                    <a:prstClr val="black"/>
                  </a:solidFill>
                  <a:ea typeface="Open Sans Light" panose="020B0306030504020204" pitchFamily="34" charset="0"/>
                  <a:cs typeface="Open Sans Light" panose="020B0306030504020204" pitchFamily="34" charset="0"/>
                </a:rPr>
                <a:t>Big Four </a:t>
              </a:r>
              <a:r>
                <a:rPr lang="fr-FR" sz="1100" dirty="0">
                  <a:solidFill>
                    <a:prstClr val="black"/>
                  </a:solidFill>
                  <a:ea typeface="Open Sans Light" panose="020B0306030504020204" pitchFamily="34" charset="0"/>
                  <a:cs typeface="Open Sans Light" panose="020B0306030504020204" pitchFamily="34" charset="0"/>
                </a:rPr>
                <a:t>».</a:t>
              </a:r>
            </a:p>
          </p:txBody>
        </p:sp>
        <p:grpSp>
          <p:nvGrpSpPr>
            <p:cNvPr id="96" name="Group 27">
              <a:extLst>
                <a:ext uri="{FF2B5EF4-FFF2-40B4-BE49-F238E27FC236}">
                  <a16:creationId xmlns:a16="http://schemas.microsoft.com/office/drawing/2014/main" id="{CC035D77-3834-402B-B668-185DFBD5D4AE}"/>
                </a:ext>
              </a:extLst>
            </p:cNvPr>
            <p:cNvGrpSpPr/>
            <p:nvPr/>
          </p:nvGrpSpPr>
          <p:grpSpPr>
            <a:xfrm>
              <a:off x="2818722" y="1810811"/>
              <a:ext cx="349382" cy="192399"/>
              <a:chOff x="488661" y="2613666"/>
              <a:chExt cx="349382" cy="192399"/>
            </a:xfrm>
            <a:solidFill>
              <a:schemeClr val="accent1"/>
            </a:solidFill>
          </p:grpSpPr>
          <p:sp>
            <p:nvSpPr>
              <p:cNvPr id="97" name="Chevron 57">
                <a:extLst>
                  <a:ext uri="{FF2B5EF4-FFF2-40B4-BE49-F238E27FC236}">
                    <a16:creationId xmlns:a16="http://schemas.microsoft.com/office/drawing/2014/main" id="{EB7478AD-E32E-486C-9EB8-AE9FB2E9A0D6}"/>
                  </a:ext>
                </a:extLst>
              </p:cNvPr>
              <p:cNvSpPr/>
              <p:nvPr/>
            </p:nvSpPr>
            <p:spPr bwMode="gray">
              <a:xfrm>
                <a:off x="488661"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sp>
            <p:nvSpPr>
              <p:cNvPr id="98" name="Chevron 58">
                <a:extLst>
                  <a:ext uri="{FF2B5EF4-FFF2-40B4-BE49-F238E27FC236}">
                    <a16:creationId xmlns:a16="http://schemas.microsoft.com/office/drawing/2014/main" id="{0248E156-4BA3-4245-B661-F2616CD766E2}"/>
                  </a:ext>
                </a:extLst>
              </p:cNvPr>
              <p:cNvSpPr/>
              <p:nvPr/>
            </p:nvSpPr>
            <p:spPr bwMode="gray">
              <a:xfrm>
                <a:off x="621670"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grpSp>
      </p:grpSp>
      <p:sp>
        <p:nvSpPr>
          <p:cNvPr id="99" name="Title 1">
            <a:extLst>
              <a:ext uri="{FF2B5EF4-FFF2-40B4-BE49-F238E27FC236}">
                <a16:creationId xmlns:a16="http://schemas.microsoft.com/office/drawing/2014/main" id="{A8D85E43-268B-4F4F-8484-17B5DCA38FDA}"/>
              </a:ext>
            </a:extLst>
          </p:cNvPr>
          <p:cNvSpPr>
            <a:spLocks noGrp="1"/>
          </p:cNvSpPr>
          <p:nvPr>
            <p:ph type="title"/>
          </p:nvPr>
        </p:nvSpPr>
        <p:spPr>
          <a:xfrm>
            <a:off x="2381250" y="343190"/>
            <a:ext cx="6743700" cy="309820"/>
          </a:xfrm>
        </p:spPr>
        <p:txBody>
          <a:bodyPr/>
          <a:lstStyle/>
          <a:p>
            <a:r>
              <a:rPr lang="fr-FR" sz="2800" b="1" dirty="0">
                <a:solidFill>
                  <a:schemeClr val="accent1"/>
                </a:solidFill>
              </a:rPr>
              <a:t>Deloitte France</a:t>
            </a:r>
          </a:p>
        </p:txBody>
      </p:sp>
      <p:pic>
        <p:nvPicPr>
          <p:cNvPr id="2" name="Picture 2" descr="Eléments graphiques | INSA Lyon">
            <a:extLst>
              <a:ext uri="{FF2B5EF4-FFF2-40B4-BE49-F238E27FC236}">
                <a16:creationId xmlns:a16="http://schemas.microsoft.com/office/drawing/2014/main" id="{ADE95F30-28CE-4B4A-AAD0-E7A553D4C2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824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832A83-4EF3-408E-AD56-72B6D8464B9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noFill/>
        </p:spPr>
      </p:pic>
      <p:sp>
        <p:nvSpPr>
          <p:cNvPr id="8" name="Text Placeholder 6">
            <a:extLst>
              <a:ext uri="{FF2B5EF4-FFF2-40B4-BE49-F238E27FC236}">
                <a16:creationId xmlns:a16="http://schemas.microsoft.com/office/drawing/2014/main" id="{CE74E6A8-701E-4019-A75A-16F2CF58A5E4}"/>
              </a:ext>
            </a:extLst>
          </p:cNvPr>
          <p:cNvSpPr txBox="1">
            <a:spLocks/>
          </p:cNvSpPr>
          <p:nvPr/>
        </p:nvSpPr>
        <p:spPr>
          <a:xfrm>
            <a:off x="350982" y="3344276"/>
            <a:ext cx="4682836" cy="590996"/>
          </a:xfrm>
          <a:prstGeom prst="rect">
            <a:avLst/>
          </a:prstGeom>
        </p:spPr>
        <p:txBody>
          <a:bodyPr wrap="square">
            <a:spAutoFit/>
          </a:bodyPr>
          <a:lstStyle>
            <a:lvl1pPr marL="0" indent="0" algn="l" defTabSz="1069215" rtl="0" eaLnBrk="1" latinLnBrk="0" hangingPunct="1">
              <a:lnSpc>
                <a:spcPts val="4340"/>
              </a:lnSpc>
              <a:spcBef>
                <a:spcPts val="0"/>
              </a:spcBef>
              <a:spcAft>
                <a:spcPts val="1169"/>
              </a:spcAft>
              <a:buSzPct val="100000"/>
              <a:buFontTx/>
              <a:buNone/>
              <a:defRPr sz="3200" b="0" i="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1069215" rtl="0" eaLnBrk="1" latinLnBrk="0" hangingPunct="1">
              <a:spcBef>
                <a:spcPts val="0"/>
              </a:spcBef>
              <a:spcAft>
                <a:spcPts val="1169"/>
              </a:spcAft>
              <a:buClrTx/>
              <a:buSzPct val="100000"/>
              <a:buFontTx/>
              <a:buNone/>
              <a:defRPr lang="en-US" sz="1270" b="1" kern="1200">
                <a:solidFill>
                  <a:schemeClr val="tx1"/>
                </a:solidFill>
                <a:latin typeface="+mj-lt"/>
                <a:ea typeface="+mn-ea"/>
                <a:cs typeface="Calibri Light" panose="020F0302020204030204" pitchFamily="34" charset="0"/>
              </a:defRPr>
            </a:lvl2pPr>
            <a:lvl3pPr marL="914400" indent="0" algn="l" defTabSz="1069215" rtl="0" eaLnBrk="1" latinLnBrk="0" hangingPunct="1">
              <a:spcBef>
                <a:spcPts val="0"/>
              </a:spcBef>
              <a:spcAft>
                <a:spcPts val="1169"/>
              </a:spcAft>
              <a:buClrTx/>
              <a:buSzPct val="100000"/>
              <a:buFontTx/>
              <a:buNone/>
              <a:defRPr lang="en-US" sz="1270" kern="1200">
                <a:solidFill>
                  <a:schemeClr val="tx1"/>
                </a:solidFill>
                <a:latin typeface="+mn-lt"/>
                <a:ea typeface="+mn-ea"/>
                <a:cs typeface="Calibri Light" panose="020F0302020204030204" pitchFamily="34" charset="0"/>
              </a:defRPr>
            </a:lvl3pPr>
            <a:lvl4pPr marL="1371600" indent="0" algn="l" defTabSz="1069215" rtl="0" eaLnBrk="1" latinLnBrk="0" hangingPunct="1">
              <a:spcBef>
                <a:spcPts val="0"/>
              </a:spcBef>
              <a:spcAft>
                <a:spcPts val="1169"/>
              </a:spcAft>
              <a:buClrTx/>
              <a:buSzPct val="100000"/>
              <a:buFontTx/>
              <a:buNone/>
              <a:defRPr lang="en-US" sz="1270" kern="1200" baseline="0">
                <a:solidFill>
                  <a:schemeClr val="tx1"/>
                </a:solidFill>
                <a:latin typeface="+mn-lt"/>
                <a:ea typeface="+mn-ea"/>
                <a:cs typeface="Calibri Light" panose="020F0302020204030204" pitchFamily="34" charset="0"/>
              </a:defRPr>
            </a:lvl4pPr>
            <a:lvl5pPr marL="1828800" indent="0" algn="l" defTabSz="933707" rtl="0" eaLnBrk="1" latinLnBrk="0" hangingPunct="1">
              <a:spcBef>
                <a:spcPts val="0"/>
              </a:spcBef>
              <a:spcAft>
                <a:spcPts val="1169"/>
              </a:spcAft>
              <a:buClrTx/>
              <a:buSzPct val="100000"/>
              <a:buFontTx/>
              <a:buNone/>
              <a:tabLst/>
              <a:defRPr lang="en-US" sz="1270" kern="1200" baseline="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r>
              <a:rPr lang="fr-FR" b="1" dirty="0">
                <a:latin typeface="Verdana" panose="020B0604030504040204" pitchFamily="34" charset="0"/>
                <a:ea typeface="Verdana" panose="020B0604030504040204" pitchFamily="34" charset="0"/>
              </a:rPr>
              <a:t>02 - Contexte</a:t>
            </a:r>
          </a:p>
        </p:txBody>
      </p:sp>
    </p:spTree>
    <p:extLst>
      <p:ext uri="{BB962C8B-B14F-4D97-AF65-F5344CB8AC3E}">
        <p14:creationId xmlns:p14="http://schemas.microsoft.com/office/powerpoint/2010/main" val="39238786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alf Frame 3">
            <a:extLst>
              <a:ext uri="{FF2B5EF4-FFF2-40B4-BE49-F238E27FC236}">
                <a16:creationId xmlns:a16="http://schemas.microsoft.com/office/drawing/2014/main" id="{34308BEC-2D70-401E-B3C2-3B568D128076}"/>
              </a:ext>
            </a:extLst>
          </p:cNvPr>
          <p:cNvSpPr/>
          <p:nvPr/>
        </p:nvSpPr>
        <p:spPr bwMode="gray">
          <a:xfrm>
            <a:off x="2687156" y="2609993"/>
            <a:ext cx="2525911" cy="2398796"/>
          </a:xfrm>
          <a:prstGeom prst="halfFrame">
            <a:avLst>
              <a:gd name="adj1" fmla="val 15802"/>
              <a:gd name="adj2" fmla="val 14865"/>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grpSp>
        <p:nvGrpSpPr>
          <p:cNvPr id="6" name="Group 638">
            <a:extLst>
              <a:ext uri="{FF2B5EF4-FFF2-40B4-BE49-F238E27FC236}">
                <a16:creationId xmlns:a16="http://schemas.microsoft.com/office/drawing/2014/main" id="{8CB6EC18-5999-4210-BB23-D306C7ED25DF}"/>
              </a:ext>
            </a:extLst>
          </p:cNvPr>
          <p:cNvGrpSpPr>
            <a:grpSpLocks noChangeAspect="1"/>
          </p:cNvGrpSpPr>
          <p:nvPr/>
        </p:nvGrpSpPr>
        <p:grpSpPr bwMode="auto">
          <a:xfrm>
            <a:off x="2762280" y="2665434"/>
            <a:ext cx="288258" cy="287619"/>
            <a:chOff x="1918" y="2365"/>
            <a:chExt cx="252" cy="265"/>
          </a:xfrm>
          <a:solidFill>
            <a:schemeClr val="bg1"/>
          </a:solidFill>
        </p:grpSpPr>
        <p:sp>
          <p:nvSpPr>
            <p:cNvPr id="10" name="Freeform 639">
              <a:extLst>
                <a:ext uri="{FF2B5EF4-FFF2-40B4-BE49-F238E27FC236}">
                  <a16:creationId xmlns:a16="http://schemas.microsoft.com/office/drawing/2014/main" id="{6C24C08C-8385-4747-894E-97152F116529}"/>
                </a:ext>
              </a:extLst>
            </p:cNvPr>
            <p:cNvSpPr>
              <a:spLocks/>
            </p:cNvSpPr>
            <p:nvPr/>
          </p:nvSpPr>
          <p:spPr bwMode="auto">
            <a:xfrm>
              <a:off x="1964" y="2419"/>
              <a:ext cx="157" cy="166"/>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endParaRPr>
            </a:p>
          </p:txBody>
        </p:sp>
        <p:sp>
          <p:nvSpPr>
            <p:cNvPr id="11" name="Freeform 640">
              <a:extLst>
                <a:ext uri="{FF2B5EF4-FFF2-40B4-BE49-F238E27FC236}">
                  <a16:creationId xmlns:a16="http://schemas.microsoft.com/office/drawing/2014/main" id="{B0A5D4FC-299B-47F5-A26E-BAF5EEC46F55}"/>
                </a:ext>
              </a:extLst>
            </p:cNvPr>
            <p:cNvSpPr>
              <a:spLocks noEditPoints="1"/>
            </p:cNvSpPr>
            <p:nvPr/>
          </p:nvSpPr>
          <p:spPr bwMode="auto">
            <a:xfrm>
              <a:off x="1918" y="2365"/>
              <a:ext cx="252" cy="26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Open Sans Light" panose="020B0306030504020204" pitchFamily="34" charset="0"/>
                <a:cs typeface="Open Sans Light" panose="020B0306030504020204" pitchFamily="34" charset="0"/>
              </a:endParaRPr>
            </a:p>
          </p:txBody>
        </p:sp>
      </p:grpSp>
      <p:sp>
        <p:nvSpPr>
          <p:cNvPr id="7" name="Half Frame 14">
            <a:extLst>
              <a:ext uri="{FF2B5EF4-FFF2-40B4-BE49-F238E27FC236}">
                <a16:creationId xmlns:a16="http://schemas.microsoft.com/office/drawing/2014/main" id="{E39F3355-B251-4B1A-A174-4E43AE45006A}"/>
              </a:ext>
            </a:extLst>
          </p:cNvPr>
          <p:cNvSpPr/>
          <p:nvPr/>
        </p:nvSpPr>
        <p:spPr bwMode="gray">
          <a:xfrm>
            <a:off x="2994488" y="2962822"/>
            <a:ext cx="1854000" cy="1764000"/>
          </a:xfrm>
          <a:prstGeom prst="halfFrame">
            <a:avLst>
              <a:gd name="adj1" fmla="val 11962"/>
              <a:gd name="adj2" fmla="val 14700"/>
            </a:avLst>
          </a:prstGeom>
          <a:solidFill>
            <a:schemeClr val="tx2">
              <a:lumMod val="40000"/>
              <a:lumOff val="6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A523EAC3-9AA1-4DCC-B375-9A97D122C9A1}"/>
              </a:ext>
            </a:extLst>
          </p:cNvPr>
          <p:cNvSpPr/>
          <p:nvPr/>
        </p:nvSpPr>
        <p:spPr>
          <a:xfrm>
            <a:off x="3125662" y="2667169"/>
            <a:ext cx="752257" cy="276999"/>
          </a:xfrm>
          <a:prstGeom prst="rect">
            <a:avLst/>
          </a:prstGeom>
        </p:spPr>
        <p:txBody>
          <a:bodyPr wrap="none"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dirty="0">
                <a:ln>
                  <a:noFill/>
                </a:ln>
                <a:solidFill>
                  <a:prstClr val="white"/>
                </a:solidFill>
                <a:effectLst/>
                <a:uLnTx/>
                <a:uFillTx/>
                <a:ea typeface="Open Sans Light" panose="020B0306030504020204" pitchFamily="34" charset="0"/>
                <a:cs typeface="Open Sans Light" panose="020B0306030504020204" pitchFamily="34" charset="0"/>
              </a:rPr>
              <a:t>Objectifs</a:t>
            </a:r>
          </a:p>
        </p:txBody>
      </p:sp>
      <p:sp>
        <p:nvSpPr>
          <p:cNvPr id="9" name="Text Box 21">
            <a:extLst>
              <a:ext uri="{FF2B5EF4-FFF2-40B4-BE49-F238E27FC236}">
                <a16:creationId xmlns:a16="http://schemas.microsoft.com/office/drawing/2014/main" id="{3BA653B1-1013-484F-B088-4868A5F60546}"/>
              </a:ext>
            </a:extLst>
          </p:cNvPr>
          <p:cNvSpPr txBox="1">
            <a:spLocks noChangeArrowheads="1"/>
          </p:cNvSpPr>
          <p:nvPr>
            <p:custDataLst>
              <p:tags r:id="rId1"/>
            </p:custDataLst>
          </p:nvPr>
        </p:nvSpPr>
        <p:spPr bwMode="gray">
          <a:xfrm>
            <a:off x="3255028" y="3178499"/>
            <a:ext cx="7917798" cy="2726158"/>
          </a:xfrm>
          <a:prstGeom prst="rect">
            <a:avLst/>
          </a:prstGeom>
          <a:solidFill>
            <a:schemeClr val="bg1"/>
          </a:solidFill>
          <a:ln w="9525">
            <a:solidFill>
              <a:schemeClr val="tx1">
                <a:lumMod val="50000"/>
                <a:lumOff val="50000"/>
              </a:schemeClr>
            </a:solidFill>
            <a:prstDash val="dash"/>
            <a:miter lim="800000"/>
            <a:headEnd/>
            <a:tailEnd/>
          </a:ln>
        </p:spPr>
        <p:txBody>
          <a:bodyPr vert="horz" wrap="square" lIns="0" tIns="0" rIns="0" bIns="0" numCol="1" anchor="ctr" anchorCtr="0" compatLnSpc="1">
            <a:prstTxWarp prst="textNoShape">
              <a:avLst/>
            </a:prstTxWarp>
          </a:bodyPr>
          <a:lstStyle>
            <a:defPPr>
              <a:defRPr lang="en-US"/>
            </a:defPPr>
            <a:lvl1pPr marL="171450" indent="-171450">
              <a:spcBef>
                <a:spcPts val="400"/>
              </a:spcBef>
              <a:buFont typeface="Arial" panose="020B0604020202020204" pitchFamily="34" charset="0"/>
              <a:buChar char="•"/>
              <a:defRPr sz="1000" kern="0">
                <a:latin typeface="Verdana" panose="020B0604030504040204" pitchFamily="34" charset="0"/>
                <a:ea typeface="Verdana" panose="020B0604030504040204" pitchFamily="34" charset="0"/>
                <a:cs typeface="Verdana" panose="020B0604030504040204" pitchFamily="34" charset="0"/>
              </a:defRPr>
            </a:lvl1pPr>
          </a:lstStyle>
          <a:p>
            <a:pPr marL="355600" lvl="0" indent="-266700" defTabSz="1219170">
              <a:lnSpc>
                <a:spcPct val="200000"/>
              </a:lnSpc>
              <a:spcBef>
                <a:spcPts val="1200"/>
              </a:spcBef>
              <a:spcAft>
                <a:spcPts val="600"/>
              </a:spcAft>
              <a:defRPr/>
            </a:pPr>
            <a:r>
              <a:rPr lang="fr-FR" sz="1100" b="1" dirty="0">
                <a:solidFill>
                  <a:prstClr val="black"/>
                </a:solidFill>
                <a:latin typeface="+mn-lt"/>
                <a:cs typeface="Open Sans Light" panose="020B0306030504020204" pitchFamily="34" charset="0"/>
              </a:rPr>
              <a:t>Analyse de l’état actuel de l’Active Directory </a:t>
            </a:r>
            <a:r>
              <a:rPr lang="fr-FR" sz="1100" dirty="0">
                <a:solidFill>
                  <a:prstClr val="black"/>
                </a:solidFill>
                <a:latin typeface="+mn-lt"/>
                <a:cs typeface="Open Sans Light" panose="020B0306030504020204" pitchFamily="34" charset="0"/>
              </a:rPr>
              <a:t>en comprenant les enjeux stratégiques, la maturité actuelle des capacités de sécurité afin de fournir une analyse et des observations documentées.</a:t>
            </a:r>
          </a:p>
          <a:p>
            <a:pPr marL="355600" lvl="0" indent="-266700" defTabSz="1219170">
              <a:lnSpc>
                <a:spcPct val="200000"/>
              </a:lnSpc>
              <a:spcBef>
                <a:spcPts val="1200"/>
              </a:spcBef>
              <a:spcAft>
                <a:spcPts val="600"/>
              </a:spcAft>
              <a:defRPr/>
            </a:pPr>
            <a:r>
              <a:rPr lang="fr-FR" sz="1100" b="1" dirty="0">
                <a:solidFill>
                  <a:prstClr val="black"/>
                </a:solidFill>
                <a:latin typeface="+mn-lt"/>
                <a:cs typeface="Open Sans Light" panose="020B0306030504020204" pitchFamily="34" charset="0"/>
              </a:rPr>
              <a:t>Définir l’état cible de l’Active Directory </a:t>
            </a:r>
            <a:r>
              <a:rPr lang="fr-FR" sz="1100" dirty="0">
                <a:solidFill>
                  <a:prstClr val="black"/>
                </a:solidFill>
                <a:latin typeface="+mn-lt"/>
                <a:cs typeface="Open Sans Light" panose="020B0306030504020204" pitchFamily="34" charset="0"/>
              </a:rPr>
              <a:t>en définissant le niveau de maturité cible de l’AD ainsi que la gouvernance associée nécessaire pour permettre ce niveau défini.</a:t>
            </a:r>
          </a:p>
          <a:p>
            <a:pPr marL="355600" lvl="0" indent="-266700" defTabSz="1219170">
              <a:lnSpc>
                <a:spcPct val="200000"/>
              </a:lnSpc>
              <a:spcBef>
                <a:spcPts val="1200"/>
              </a:spcBef>
              <a:spcAft>
                <a:spcPts val="600"/>
              </a:spcAft>
              <a:defRPr/>
            </a:pPr>
            <a:r>
              <a:rPr lang="fr-FR" sz="1100" b="1" dirty="0">
                <a:solidFill>
                  <a:prstClr val="black"/>
                </a:solidFill>
                <a:latin typeface="+mn-lt"/>
                <a:cs typeface="Open Sans Light" panose="020B0306030504020204" pitchFamily="34" charset="0"/>
              </a:rPr>
              <a:t>Proposer un plan de transformation Active Directory réalisable </a:t>
            </a:r>
            <a:r>
              <a:rPr lang="fr-FR" sz="1100" dirty="0">
                <a:solidFill>
                  <a:prstClr val="black"/>
                </a:solidFill>
                <a:latin typeface="+mn-lt"/>
                <a:cs typeface="Open Sans Light" panose="020B0306030504020204" pitchFamily="34" charset="0"/>
              </a:rPr>
              <a:t>en identifiant les projets pour améliorer la maturité globale et en proposant un modèle afin de prioriser le déploiement de ces projets.</a:t>
            </a:r>
            <a:endParaRPr lang="fr-FR" sz="1100" b="1" dirty="0">
              <a:solidFill>
                <a:prstClr val="black"/>
              </a:solidFill>
              <a:latin typeface="+mn-lt"/>
              <a:cs typeface="Open Sans Light" panose="020B0306030504020204" pitchFamily="34" charset="0"/>
            </a:endParaRPr>
          </a:p>
        </p:txBody>
      </p:sp>
      <p:sp>
        <p:nvSpPr>
          <p:cNvPr id="13" name="Rectangle 12">
            <a:extLst>
              <a:ext uri="{FF2B5EF4-FFF2-40B4-BE49-F238E27FC236}">
                <a16:creationId xmlns:a16="http://schemas.microsoft.com/office/drawing/2014/main" id="{D7235C76-7364-42F4-89B1-FD0E236C9EB8}"/>
              </a:ext>
            </a:extLst>
          </p:cNvPr>
          <p:cNvSpPr/>
          <p:nvPr/>
        </p:nvSpPr>
        <p:spPr>
          <a:xfrm>
            <a:off x="2310065" y="1236784"/>
            <a:ext cx="9380288" cy="830997"/>
          </a:xfrm>
          <a:prstGeom prst="rect">
            <a:avLst/>
          </a:prstGeom>
        </p:spPr>
        <p:txBody>
          <a:bodyPr wrap="square">
            <a:spAutoFit/>
          </a:bodyPr>
          <a:lstStyle/>
          <a:p>
            <a:pPr lvl="1" algn="just" defTabSz="914389">
              <a:spcBef>
                <a:spcPts val="635"/>
              </a:spcBef>
              <a:spcAft>
                <a:spcPts val="635"/>
              </a:spcAft>
              <a:defRPr/>
            </a:pPr>
            <a:r>
              <a:rPr lang="fr-FR" sz="1200" dirty="0">
                <a:solidFill>
                  <a:prstClr val="black"/>
                </a:solidFill>
                <a:ea typeface="Verdana" panose="020B0604030504040204" pitchFamily="34" charset="0"/>
                <a:cs typeface="Open Sans Light" panose="020B0306030504020204" pitchFamily="34" charset="0"/>
              </a:rPr>
              <a:t>Dans le cadre de la continuité d’un projet d’optimisation de cybersécurité sur son Active Directory (AD), notre client nous a demandé </a:t>
            </a:r>
            <a:r>
              <a:rPr lang="fr-FR" sz="1200" b="1" dirty="0">
                <a:solidFill>
                  <a:prstClr val="black"/>
                </a:solidFill>
                <a:ea typeface="Verdana" panose="020B0604030504040204" pitchFamily="34" charset="0"/>
                <a:cs typeface="Open Sans Light" panose="020B0306030504020204" pitchFamily="34" charset="0"/>
              </a:rPr>
              <a:t>d’en évaluer la maturité actuelle</a:t>
            </a:r>
            <a:r>
              <a:rPr lang="fr-FR" sz="1200" dirty="0">
                <a:solidFill>
                  <a:prstClr val="black"/>
                </a:solidFill>
                <a:ea typeface="Verdana" panose="020B0604030504040204" pitchFamily="34" charset="0"/>
                <a:cs typeface="Open Sans Light" panose="020B0306030504020204" pitchFamily="34" charset="0"/>
              </a:rPr>
              <a:t>. Bien qu’une initiative ait été lancé chez notre client pour remédier aux vulnérabilités, une étude réalisée par Deloitte en 2021 a mis en évidence un manque global de </a:t>
            </a:r>
            <a:r>
              <a:rPr lang="fr-FR" sz="1200" b="1" dirty="0">
                <a:solidFill>
                  <a:prstClr val="black"/>
                </a:solidFill>
                <a:ea typeface="Verdana" panose="020B0604030504040204" pitchFamily="34" charset="0"/>
                <a:cs typeface="Open Sans Light" panose="020B0306030504020204" pitchFamily="34" charset="0"/>
              </a:rPr>
              <a:t>Gouvernance</a:t>
            </a:r>
            <a:r>
              <a:rPr lang="fr-FR" sz="1200" dirty="0">
                <a:solidFill>
                  <a:prstClr val="black"/>
                </a:solidFill>
                <a:ea typeface="Verdana" panose="020B0604030504040204" pitchFamily="34" charset="0"/>
                <a:cs typeface="Open Sans Light" panose="020B0306030504020204" pitchFamily="34" charset="0"/>
              </a:rPr>
              <a:t>,</a:t>
            </a:r>
            <a:r>
              <a:rPr lang="fr-FR" sz="1200" b="1" dirty="0">
                <a:solidFill>
                  <a:prstClr val="black"/>
                </a:solidFill>
                <a:ea typeface="Verdana" panose="020B0604030504040204" pitchFamily="34" charset="0"/>
                <a:cs typeface="Open Sans Light" panose="020B0306030504020204" pitchFamily="34" charset="0"/>
              </a:rPr>
              <a:t> une hétérogénéité des processus </a:t>
            </a:r>
            <a:r>
              <a:rPr lang="fr-FR" sz="1200" dirty="0">
                <a:solidFill>
                  <a:prstClr val="black"/>
                </a:solidFill>
                <a:ea typeface="Verdana" panose="020B0604030504040204" pitchFamily="34" charset="0"/>
                <a:cs typeface="Open Sans Light" panose="020B0306030504020204" pitchFamily="34" charset="0"/>
              </a:rPr>
              <a:t>et des </a:t>
            </a:r>
            <a:r>
              <a:rPr lang="fr-FR" sz="1200" b="1" dirty="0">
                <a:solidFill>
                  <a:prstClr val="black"/>
                </a:solidFill>
                <a:ea typeface="Verdana" panose="020B0604030504040204" pitchFamily="34" charset="0"/>
                <a:cs typeface="Open Sans Light" panose="020B0306030504020204" pitchFamily="34" charset="0"/>
              </a:rPr>
              <a:t>normes techniques différentes entre les entités</a:t>
            </a:r>
            <a:r>
              <a:rPr lang="fr-FR" sz="1200" dirty="0">
                <a:solidFill>
                  <a:prstClr val="black"/>
                </a:solidFill>
                <a:ea typeface="Verdana" panose="020B0604030504040204" pitchFamily="34" charset="0"/>
                <a:cs typeface="Open Sans Light" panose="020B0306030504020204" pitchFamily="34" charset="0"/>
              </a:rPr>
              <a:t> de notre client.</a:t>
            </a:r>
          </a:p>
        </p:txBody>
      </p:sp>
      <p:grpSp>
        <p:nvGrpSpPr>
          <p:cNvPr id="14" name="Group 27">
            <a:extLst>
              <a:ext uri="{FF2B5EF4-FFF2-40B4-BE49-F238E27FC236}">
                <a16:creationId xmlns:a16="http://schemas.microsoft.com/office/drawing/2014/main" id="{0CDA7E03-4B44-467C-8B5A-F7A8B51AF4E5}"/>
              </a:ext>
            </a:extLst>
          </p:cNvPr>
          <p:cNvGrpSpPr/>
          <p:nvPr/>
        </p:nvGrpSpPr>
        <p:grpSpPr>
          <a:xfrm>
            <a:off x="2446156" y="1297257"/>
            <a:ext cx="349382" cy="192399"/>
            <a:chOff x="488661" y="2613666"/>
            <a:chExt cx="349382" cy="192399"/>
          </a:xfrm>
          <a:solidFill>
            <a:schemeClr val="accent1"/>
          </a:solidFill>
        </p:grpSpPr>
        <p:sp>
          <p:nvSpPr>
            <p:cNvPr id="15" name="Chevron 57">
              <a:extLst>
                <a:ext uri="{FF2B5EF4-FFF2-40B4-BE49-F238E27FC236}">
                  <a16:creationId xmlns:a16="http://schemas.microsoft.com/office/drawing/2014/main" id="{B88E4EA1-CA97-45AC-B392-A16877108D92}"/>
                </a:ext>
              </a:extLst>
            </p:cNvPr>
            <p:cNvSpPr/>
            <p:nvPr/>
          </p:nvSpPr>
          <p:spPr bwMode="gray">
            <a:xfrm>
              <a:off x="488661"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sp>
          <p:nvSpPr>
            <p:cNvPr id="16" name="Chevron 58">
              <a:extLst>
                <a:ext uri="{FF2B5EF4-FFF2-40B4-BE49-F238E27FC236}">
                  <a16:creationId xmlns:a16="http://schemas.microsoft.com/office/drawing/2014/main" id="{C04CCCF8-E999-44D5-A453-CE0A28882DF7}"/>
                </a:ext>
              </a:extLst>
            </p:cNvPr>
            <p:cNvSpPr/>
            <p:nvPr/>
          </p:nvSpPr>
          <p:spPr bwMode="gray">
            <a:xfrm>
              <a:off x="621670"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grpSp>
      <p:sp>
        <p:nvSpPr>
          <p:cNvPr id="18" name="Rectangle 17">
            <a:extLst>
              <a:ext uri="{FF2B5EF4-FFF2-40B4-BE49-F238E27FC236}">
                <a16:creationId xmlns:a16="http://schemas.microsoft.com/office/drawing/2014/main" id="{36E24E78-D966-43A4-94D4-83CE0B777AA1}"/>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20" name="Picture 4" descr="Deloitte Consulting LLP - Partner - Boomi">
            <a:extLst>
              <a:ext uri="{FF2B5EF4-FFF2-40B4-BE49-F238E27FC236}">
                <a16:creationId xmlns:a16="http://schemas.microsoft.com/office/drawing/2014/main" id="{5EDADC98-FA25-438E-957C-BD25DF82BC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sp>
        <p:nvSpPr>
          <p:cNvPr id="22" name="ZoneTexte 128">
            <a:extLst>
              <a:ext uri="{FF2B5EF4-FFF2-40B4-BE49-F238E27FC236}">
                <a16:creationId xmlns:a16="http://schemas.microsoft.com/office/drawing/2014/main" id="{CC300544-7F72-4309-B6E1-49DBFBBBABAA}"/>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Contexte</a:t>
            </a:r>
          </a:p>
          <a:p>
            <a:pPr marL="342900" indent="-342900">
              <a:lnSpc>
                <a:spcPct val="250000"/>
              </a:lnSpc>
              <a:spcBef>
                <a:spcPts val="600"/>
              </a:spcBef>
              <a:buSzPct val="100000"/>
              <a:buFont typeface="+mj-lt"/>
              <a:buAutoNum type="arabicPeriod"/>
            </a:pPr>
            <a:r>
              <a:rPr lang="fr-FR" sz="1100" dirty="0">
                <a:solidFill>
                  <a:srgbClr val="313131"/>
                </a:solidFill>
              </a:rPr>
              <a:t>Phase 1</a:t>
            </a:r>
          </a:p>
          <a:p>
            <a:pPr marL="342900" indent="-342900">
              <a:lnSpc>
                <a:spcPct val="250000"/>
              </a:lnSpc>
              <a:spcBef>
                <a:spcPts val="600"/>
              </a:spcBef>
              <a:buSzPct val="100000"/>
              <a:buFont typeface="+mj-lt"/>
              <a:buAutoNum type="arabicPeriod"/>
            </a:pPr>
            <a:r>
              <a:rPr lang="fr-FR" sz="1100" dirty="0">
                <a:solidFill>
                  <a:srgbClr val="313131"/>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sp>
        <p:nvSpPr>
          <p:cNvPr id="23" name="Title 1">
            <a:extLst>
              <a:ext uri="{FF2B5EF4-FFF2-40B4-BE49-F238E27FC236}">
                <a16:creationId xmlns:a16="http://schemas.microsoft.com/office/drawing/2014/main" id="{C351DE36-3D04-49D2-974B-0CA0B7638A28}"/>
              </a:ext>
            </a:extLst>
          </p:cNvPr>
          <p:cNvSpPr>
            <a:spLocks noGrp="1"/>
          </p:cNvSpPr>
          <p:nvPr>
            <p:ph type="title"/>
          </p:nvPr>
        </p:nvSpPr>
        <p:spPr>
          <a:xfrm>
            <a:off x="2381250" y="343190"/>
            <a:ext cx="6743700" cy="309820"/>
          </a:xfrm>
        </p:spPr>
        <p:txBody>
          <a:bodyPr/>
          <a:lstStyle/>
          <a:p>
            <a:r>
              <a:rPr lang="fr-FR" sz="2800" b="1" dirty="0">
                <a:solidFill>
                  <a:schemeClr val="accent1"/>
                </a:solidFill>
              </a:rPr>
              <a:t>Contexte de la mission</a:t>
            </a:r>
          </a:p>
        </p:txBody>
      </p:sp>
      <p:pic>
        <p:nvPicPr>
          <p:cNvPr id="21" name="Picture 2" descr="Eléments graphiques | INSA Lyon">
            <a:extLst>
              <a:ext uri="{FF2B5EF4-FFF2-40B4-BE49-F238E27FC236}">
                <a16:creationId xmlns:a16="http://schemas.microsoft.com/office/drawing/2014/main" id="{CA4988BA-9984-4C82-AF5C-6EC2437D30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1571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A1A39-FEA5-45F0-8A95-1A2DE8823E7B}"/>
              </a:ext>
            </a:extLst>
          </p:cNvPr>
          <p:cNvSpPr>
            <a:spLocks noGrp="1"/>
          </p:cNvSpPr>
          <p:nvPr>
            <p:ph type="title"/>
          </p:nvPr>
        </p:nvSpPr>
        <p:spPr>
          <a:xfrm>
            <a:off x="2381250" y="343190"/>
            <a:ext cx="6743700" cy="309820"/>
          </a:xfrm>
        </p:spPr>
        <p:txBody>
          <a:bodyPr/>
          <a:lstStyle/>
          <a:p>
            <a:r>
              <a:rPr lang="fr-FR" sz="2800" b="1" dirty="0">
                <a:solidFill>
                  <a:schemeClr val="accent1"/>
                </a:solidFill>
              </a:rPr>
              <a:t>Définitions</a:t>
            </a:r>
            <a:br>
              <a:rPr lang="fr-FR" sz="2800" b="1" dirty="0">
                <a:solidFill>
                  <a:schemeClr val="accent1"/>
                </a:solidFill>
              </a:rPr>
            </a:br>
            <a:endParaRPr lang="fr-FR" sz="2800" b="1" dirty="0">
              <a:solidFill>
                <a:schemeClr val="accent1"/>
              </a:solidFill>
            </a:endParaRPr>
          </a:p>
        </p:txBody>
      </p:sp>
      <p:sp>
        <p:nvSpPr>
          <p:cNvPr id="5" name="Rectangle 4">
            <a:extLst>
              <a:ext uri="{FF2B5EF4-FFF2-40B4-BE49-F238E27FC236}">
                <a16:creationId xmlns:a16="http://schemas.microsoft.com/office/drawing/2014/main" id="{81E10ACE-8204-433C-A47C-CE8C4C39D474}"/>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7" name="Picture 4" descr="Deloitte Consulting LLP - Partner - Boomi">
            <a:extLst>
              <a:ext uri="{FF2B5EF4-FFF2-40B4-BE49-F238E27FC236}">
                <a16:creationId xmlns:a16="http://schemas.microsoft.com/office/drawing/2014/main" id="{981A2C2E-67FB-4095-850E-3C58285190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1735F0CA-5549-431E-B2EA-F247016C8702}"/>
              </a:ext>
            </a:extLst>
          </p:cNvPr>
          <p:cNvSpPr/>
          <p:nvPr/>
        </p:nvSpPr>
        <p:spPr bwMode="gray">
          <a:xfrm>
            <a:off x="2800350" y="2990850"/>
            <a:ext cx="3971925" cy="3152775"/>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5" name="Rectangle 14">
            <a:extLst>
              <a:ext uri="{FF2B5EF4-FFF2-40B4-BE49-F238E27FC236}">
                <a16:creationId xmlns:a16="http://schemas.microsoft.com/office/drawing/2014/main" id="{30BCB580-89A8-45E3-B5C9-FE8F5FBB51BD}"/>
              </a:ext>
            </a:extLst>
          </p:cNvPr>
          <p:cNvSpPr/>
          <p:nvPr/>
        </p:nvSpPr>
        <p:spPr bwMode="gray">
          <a:xfrm>
            <a:off x="7442203" y="2990849"/>
            <a:ext cx="3971925" cy="3152775"/>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6" name="Rectangle 15">
            <a:extLst>
              <a:ext uri="{FF2B5EF4-FFF2-40B4-BE49-F238E27FC236}">
                <a16:creationId xmlns:a16="http://schemas.microsoft.com/office/drawing/2014/main" id="{30A229F3-6B5E-43AC-9FEB-B37D940439A5}"/>
              </a:ext>
            </a:extLst>
          </p:cNvPr>
          <p:cNvSpPr/>
          <p:nvPr/>
        </p:nvSpPr>
        <p:spPr bwMode="gray">
          <a:xfrm>
            <a:off x="2800349" y="2619374"/>
            <a:ext cx="3971925" cy="371475"/>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bg1"/>
                </a:solidFill>
              </a:rPr>
              <a:t>Active Directory</a:t>
            </a:r>
          </a:p>
        </p:txBody>
      </p:sp>
      <p:sp>
        <p:nvSpPr>
          <p:cNvPr id="17" name="Rectangle 16">
            <a:extLst>
              <a:ext uri="{FF2B5EF4-FFF2-40B4-BE49-F238E27FC236}">
                <a16:creationId xmlns:a16="http://schemas.microsoft.com/office/drawing/2014/main" id="{345ABC89-646F-4DFE-9004-10B556B7E221}"/>
              </a:ext>
            </a:extLst>
          </p:cNvPr>
          <p:cNvSpPr/>
          <p:nvPr/>
        </p:nvSpPr>
        <p:spPr bwMode="gray">
          <a:xfrm>
            <a:off x="7442203" y="2619373"/>
            <a:ext cx="3971925" cy="371475"/>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bg1"/>
                </a:solidFill>
              </a:rPr>
              <a:t>Modèle de gouvernance</a:t>
            </a:r>
          </a:p>
        </p:txBody>
      </p:sp>
      <p:sp>
        <p:nvSpPr>
          <p:cNvPr id="18" name="Oval 17">
            <a:extLst>
              <a:ext uri="{FF2B5EF4-FFF2-40B4-BE49-F238E27FC236}">
                <a16:creationId xmlns:a16="http://schemas.microsoft.com/office/drawing/2014/main" id="{89DAF6F6-EC14-4D3A-B84A-78E88CD22FA3}"/>
              </a:ext>
            </a:extLst>
          </p:cNvPr>
          <p:cNvSpPr/>
          <p:nvPr/>
        </p:nvSpPr>
        <p:spPr bwMode="gray">
          <a:xfrm>
            <a:off x="2625010" y="2476500"/>
            <a:ext cx="350676" cy="342900"/>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accent4"/>
                </a:solidFill>
              </a:rPr>
              <a:t>1</a:t>
            </a:r>
          </a:p>
        </p:txBody>
      </p:sp>
      <p:sp>
        <p:nvSpPr>
          <p:cNvPr id="19" name="Oval 18">
            <a:extLst>
              <a:ext uri="{FF2B5EF4-FFF2-40B4-BE49-F238E27FC236}">
                <a16:creationId xmlns:a16="http://schemas.microsoft.com/office/drawing/2014/main" id="{07B36BE2-2C4D-421B-9259-474E2B9D6251}"/>
              </a:ext>
            </a:extLst>
          </p:cNvPr>
          <p:cNvSpPr/>
          <p:nvPr/>
        </p:nvSpPr>
        <p:spPr bwMode="gray">
          <a:xfrm>
            <a:off x="7266864" y="2476500"/>
            <a:ext cx="350676" cy="342900"/>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solidFill>
                  <a:schemeClr val="accent4"/>
                </a:solidFill>
              </a:rPr>
              <a:t>2</a:t>
            </a:r>
          </a:p>
        </p:txBody>
      </p:sp>
      <p:sp>
        <p:nvSpPr>
          <p:cNvPr id="20" name="TextBox 19">
            <a:extLst>
              <a:ext uri="{FF2B5EF4-FFF2-40B4-BE49-F238E27FC236}">
                <a16:creationId xmlns:a16="http://schemas.microsoft.com/office/drawing/2014/main" id="{79386ABD-539B-4C49-B4BD-A345A684ECD6}"/>
              </a:ext>
            </a:extLst>
          </p:cNvPr>
          <p:cNvSpPr txBox="1"/>
          <p:nvPr/>
        </p:nvSpPr>
        <p:spPr>
          <a:xfrm>
            <a:off x="7617540" y="4718938"/>
            <a:ext cx="3653714" cy="892552"/>
          </a:xfrm>
          <a:prstGeom prst="rect">
            <a:avLst/>
          </a:prstGeom>
          <a:noFill/>
        </p:spPr>
        <p:txBody>
          <a:bodyPr wrap="square" lIns="0" tIns="0" rIns="0" bIns="0" rtlCol="0">
            <a:spAutoFit/>
          </a:bodyPr>
          <a:lstStyle/>
          <a:p>
            <a:pPr marL="228600" indent="-228600" algn="just">
              <a:spcBef>
                <a:spcPts val="600"/>
              </a:spcBef>
              <a:buSzPct val="100000"/>
              <a:buFont typeface="+mj-lt"/>
              <a:buAutoNum type="arabicPeriod"/>
            </a:pPr>
            <a:r>
              <a:rPr lang="fr-FR" sz="1200" b="1" dirty="0">
                <a:solidFill>
                  <a:srgbClr val="313131"/>
                </a:solidFill>
              </a:rPr>
              <a:t>Matrice RACI </a:t>
            </a:r>
            <a:r>
              <a:rPr lang="fr-FR" sz="1200" dirty="0">
                <a:solidFill>
                  <a:srgbClr val="313131"/>
                </a:solidFill>
              </a:rPr>
              <a:t>: qui fait quoi ?</a:t>
            </a:r>
          </a:p>
          <a:p>
            <a:pPr algn="just">
              <a:spcBef>
                <a:spcPts val="600"/>
              </a:spcBef>
              <a:buSzPct val="100000"/>
            </a:pPr>
            <a:endParaRPr lang="fr-FR" sz="1200" dirty="0">
              <a:solidFill>
                <a:srgbClr val="313131"/>
              </a:solidFill>
            </a:endParaRPr>
          </a:p>
          <a:p>
            <a:pPr marL="228600" indent="-228600" algn="just">
              <a:spcBef>
                <a:spcPts val="600"/>
              </a:spcBef>
              <a:buSzPct val="100000"/>
              <a:buFont typeface="+mj-lt"/>
              <a:buAutoNum type="arabicPeriod" startAt="2"/>
            </a:pPr>
            <a:r>
              <a:rPr lang="fr-FR" sz="1200" b="1" dirty="0">
                <a:solidFill>
                  <a:srgbClr val="313131"/>
                </a:solidFill>
              </a:rPr>
              <a:t>Instances de Gouvernances </a:t>
            </a:r>
            <a:r>
              <a:rPr lang="fr-FR" sz="1200" dirty="0">
                <a:solidFill>
                  <a:srgbClr val="313131"/>
                </a:solidFill>
              </a:rPr>
              <a:t>: qui interagit avec qui de quoi ?</a:t>
            </a:r>
          </a:p>
        </p:txBody>
      </p:sp>
      <p:sp>
        <p:nvSpPr>
          <p:cNvPr id="21" name="TextBox 20">
            <a:extLst>
              <a:ext uri="{FF2B5EF4-FFF2-40B4-BE49-F238E27FC236}">
                <a16:creationId xmlns:a16="http://schemas.microsoft.com/office/drawing/2014/main" id="{163868FD-C225-4281-99CE-E88532CA73DF}"/>
              </a:ext>
            </a:extLst>
          </p:cNvPr>
          <p:cNvSpPr txBox="1"/>
          <p:nvPr/>
        </p:nvSpPr>
        <p:spPr>
          <a:xfrm>
            <a:off x="7564793" y="3121416"/>
            <a:ext cx="3653714" cy="1107996"/>
          </a:xfrm>
          <a:prstGeom prst="rect">
            <a:avLst/>
          </a:prstGeom>
          <a:noFill/>
        </p:spPr>
        <p:txBody>
          <a:bodyPr wrap="square" lIns="0" tIns="0" rIns="0" bIns="0" rtlCol="0">
            <a:spAutoFit/>
          </a:bodyPr>
          <a:lstStyle/>
          <a:p>
            <a:pPr algn="just">
              <a:spcBef>
                <a:spcPts val="600"/>
              </a:spcBef>
              <a:buSzPct val="100000"/>
            </a:pPr>
            <a:r>
              <a:rPr lang="fr-FR" sz="1200" dirty="0">
                <a:effectLst/>
                <a:ea typeface="Calibri" panose="020F0502020204030204" pitchFamily="34" charset="0"/>
                <a:cs typeface="FuturaBT-Light"/>
              </a:rPr>
              <a:t>Un </a:t>
            </a:r>
            <a:r>
              <a:rPr lang="fr-FR" sz="1200" b="1" dirty="0">
                <a:effectLst/>
                <a:ea typeface="Calibri" panose="020F0502020204030204" pitchFamily="34" charset="0"/>
                <a:cs typeface="FuturaBT-Light"/>
              </a:rPr>
              <a:t>modèle de gouvernance </a:t>
            </a:r>
            <a:r>
              <a:rPr lang="fr-FR" sz="1200" dirty="0">
                <a:effectLst/>
                <a:ea typeface="Calibri" panose="020F0502020204030204" pitchFamily="34" charset="0"/>
                <a:cs typeface="FuturaBT-Light"/>
              </a:rPr>
              <a:t>est un élément clé d’une entreprise. C’est lui qui permet son </a:t>
            </a:r>
            <a:r>
              <a:rPr lang="fr-FR" sz="1200" b="1" dirty="0">
                <a:effectLst/>
                <a:ea typeface="Calibri" panose="020F0502020204030204" pitchFamily="34" charset="0"/>
                <a:cs typeface="FuturaBT-Light"/>
              </a:rPr>
              <a:t>bon fonctionnement </a:t>
            </a:r>
            <a:r>
              <a:rPr lang="fr-FR" sz="1200" dirty="0">
                <a:effectLst/>
                <a:ea typeface="Calibri" panose="020F0502020204030204" pitchFamily="34" charset="0"/>
                <a:cs typeface="FuturaBT-Light"/>
              </a:rPr>
              <a:t>en servant de base solide entre les </a:t>
            </a:r>
            <a:r>
              <a:rPr lang="fr-FR" sz="1200" b="1" dirty="0">
                <a:effectLst/>
                <a:ea typeface="Calibri" panose="020F0502020204030204" pitchFamily="34" charset="0"/>
                <a:cs typeface="FuturaBT-Light"/>
              </a:rPr>
              <a:t>différentes parties prenantes de l’entreprise</a:t>
            </a:r>
            <a:r>
              <a:rPr lang="fr-FR" sz="1200" dirty="0">
                <a:effectLst/>
                <a:ea typeface="Calibri" panose="020F0502020204030204" pitchFamily="34" charset="0"/>
                <a:cs typeface="FuturaBT-Light"/>
              </a:rPr>
              <a:t>. Il peut </a:t>
            </a:r>
            <a:r>
              <a:rPr lang="fr-FR" sz="1200" b="1" dirty="0">
                <a:effectLst/>
                <a:ea typeface="Calibri" panose="020F0502020204030204" pitchFamily="34" charset="0"/>
                <a:cs typeface="FuturaBT-Light"/>
              </a:rPr>
              <a:t>concerner divers aspects </a:t>
            </a:r>
            <a:r>
              <a:rPr lang="fr-FR" sz="1200" dirty="0">
                <a:effectLst/>
                <a:ea typeface="Calibri" panose="020F0502020204030204" pitchFamily="34" charset="0"/>
                <a:cs typeface="FuturaBT-Light"/>
              </a:rPr>
              <a:t>comme : les objectifs stratégiques, le budget, la performance, les processus, les incidents, les risques etc.</a:t>
            </a:r>
            <a:endParaRPr lang="fr-FR" sz="1200" dirty="0">
              <a:effectLst/>
              <a:ea typeface="Calibri" panose="020F0502020204030204" pitchFamily="34" charset="0"/>
              <a:cs typeface="Times New Roman" panose="02020603050405020304" pitchFamily="18" charset="0"/>
            </a:endParaRPr>
          </a:p>
        </p:txBody>
      </p:sp>
      <p:sp>
        <p:nvSpPr>
          <p:cNvPr id="22" name="ZoneTexte 128">
            <a:extLst>
              <a:ext uri="{FF2B5EF4-FFF2-40B4-BE49-F238E27FC236}">
                <a16:creationId xmlns:a16="http://schemas.microsoft.com/office/drawing/2014/main" id="{BEDA171A-F6B6-4078-8776-E12935C298AE}"/>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Contexte</a:t>
            </a:r>
          </a:p>
          <a:p>
            <a:pPr marL="342900" indent="-342900">
              <a:lnSpc>
                <a:spcPct val="250000"/>
              </a:lnSpc>
              <a:spcBef>
                <a:spcPts val="600"/>
              </a:spcBef>
              <a:buSzPct val="100000"/>
              <a:buFont typeface="+mj-lt"/>
              <a:buAutoNum type="arabicPeriod"/>
            </a:pPr>
            <a:r>
              <a:rPr lang="fr-FR" sz="1100" dirty="0">
                <a:solidFill>
                  <a:srgbClr val="313131"/>
                </a:solidFill>
              </a:rPr>
              <a:t>Phase 1</a:t>
            </a:r>
          </a:p>
          <a:p>
            <a:pPr marL="342900" indent="-342900">
              <a:lnSpc>
                <a:spcPct val="250000"/>
              </a:lnSpc>
              <a:spcBef>
                <a:spcPts val="600"/>
              </a:spcBef>
              <a:buSzPct val="100000"/>
              <a:buFont typeface="+mj-lt"/>
              <a:buAutoNum type="arabicPeriod"/>
            </a:pPr>
            <a:r>
              <a:rPr lang="fr-FR" sz="1100" dirty="0">
                <a:solidFill>
                  <a:srgbClr val="313131"/>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pic>
        <p:nvPicPr>
          <p:cNvPr id="4098" name="Picture 2" descr="Installation d'un domaine Active Directory [VIDEO] - Moussa CHELGHAM">
            <a:extLst>
              <a:ext uri="{FF2B5EF4-FFF2-40B4-BE49-F238E27FC236}">
                <a16:creationId xmlns:a16="http://schemas.microsoft.com/office/drawing/2014/main" id="{C1A49D03-7BE9-491C-8ABA-B234B02BEE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394" y="4814188"/>
            <a:ext cx="1687833" cy="1054896"/>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3108FB2-75D4-4A3D-A72C-0F77A6EF684F}"/>
              </a:ext>
            </a:extLst>
          </p:cNvPr>
          <p:cNvSpPr txBox="1"/>
          <p:nvPr/>
        </p:nvSpPr>
        <p:spPr>
          <a:xfrm>
            <a:off x="2975686" y="3121416"/>
            <a:ext cx="3653714" cy="738664"/>
          </a:xfrm>
          <a:prstGeom prst="rect">
            <a:avLst/>
          </a:prstGeom>
          <a:noFill/>
        </p:spPr>
        <p:txBody>
          <a:bodyPr wrap="square" lIns="0" tIns="0" rIns="0" bIns="0" rtlCol="0">
            <a:spAutoFit/>
          </a:bodyPr>
          <a:lstStyle/>
          <a:p>
            <a:pPr algn="just">
              <a:spcBef>
                <a:spcPts val="600"/>
              </a:spcBef>
              <a:buSzPct val="100000"/>
            </a:pPr>
            <a:r>
              <a:rPr lang="fr-FR" sz="1200" b="1" dirty="0">
                <a:solidFill>
                  <a:srgbClr val="313131"/>
                </a:solidFill>
              </a:rPr>
              <a:t>Active Directory </a:t>
            </a:r>
            <a:r>
              <a:rPr lang="fr-FR" sz="1200" dirty="0">
                <a:solidFill>
                  <a:srgbClr val="313131"/>
                </a:solidFill>
              </a:rPr>
              <a:t>(AD) est le </a:t>
            </a:r>
            <a:r>
              <a:rPr lang="fr-FR" sz="1200" b="1" dirty="0">
                <a:solidFill>
                  <a:srgbClr val="313131"/>
                </a:solidFill>
              </a:rPr>
              <a:t>service d'annuaire </a:t>
            </a:r>
            <a:r>
              <a:rPr lang="fr-FR" sz="1200" dirty="0">
                <a:solidFill>
                  <a:srgbClr val="313131"/>
                </a:solidFill>
              </a:rPr>
              <a:t>propriétaire de Microsoft. Il fonctionne sur Windows Server et </a:t>
            </a:r>
            <a:r>
              <a:rPr lang="fr-FR" sz="1200" b="1" dirty="0">
                <a:solidFill>
                  <a:srgbClr val="313131"/>
                </a:solidFill>
              </a:rPr>
              <a:t>permet aux administrateurs </a:t>
            </a:r>
            <a:r>
              <a:rPr lang="fr-FR" sz="1200" dirty="0">
                <a:solidFill>
                  <a:srgbClr val="313131"/>
                </a:solidFill>
              </a:rPr>
              <a:t>de gérer les </a:t>
            </a:r>
            <a:r>
              <a:rPr lang="fr-FR" sz="1200" b="1" dirty="0">
                <a:solidFill>
                  <a:srgbClr val="313131"/>
                </a:solidFill>
              </a:rPr>
              <a:t>autorisations</a:t>
            </a:r>
            <a:r>
              <a:rPr lang="fr-FR" sz="1200" dirty="0">
                <a:solidFill>
                  <a:srgbClr val="313131"/>
                </a:solidFill>
              </a:rPr>
              <a:t> et </a:t>
            </a:r>
            <a:r>
              <a:rPr lang="fr-FR" sz="1200" b="1" dirty="0">
                <a:solidFill>
                  <a:srgbClr val="313131"/>
                </a:solidFill>
              </a:rPr>
              <a:t>l'accès aux ressources du réseau</a:t>
            </a:r>
            <a:r>
              <a:rPr lang="fr-FR" sz="1200" dirty="0">
                <a:solidFill>
                  <a:srgbClr val="313131"/>
                </a:solidFill>
              </a:rPr>
              <a:t>.</a:t>
            </a:r>
          </a:p>
        </p:txBody>
      </p:sp>
      <p:sp>
        <p:nvSpPr>
          <p:cNvPr id="26" name="TextBox 25">
            <a:extLst>
              <a:ext uri="{FF2B5EF4-FFF2-40B4-BE49-F238E27FC236}">
                <a16:creationId xmlns:a16="http://schemas.microsoft.com/office/drawing/2014/main" id="{F6ED7175-5734-4595-8CDB-6D37F11F1DB2}"/>
              </a:ext>
            </a:extLst>
          </p:cNvPr>
          <p:cNvSpPr txBox="1"/>
          <p:nvPr/>
        </p:nvSpPr>
        <p:spPr>
          <a:xfrm>
            <a:off x="3491883" y="4229412"/>
            <a:ext cx="2588858" cy="215444"/>
          </a:xfrm>
          <a:prstGeom prst="rect">
            <a:avLst/>
          </a:prstGeom>
          <a:noFill/>
        </p:spPr>
        <p:txBody>
          <a:bodyPr wrap="square" lIns="0" tIns="0" rIns="0" bIns="0" rtlCol="0">
            <a:spAutoFit/>
          </a:bodyPr>
          <a:lstStyle/>
          <a:p>
            <a:pPr>
              <a:spcBef>
                <a:spcPts val="600"/>
              </a:spcBef>
              <a:buSzPct val="100000"/>
            </a:pPr>
            <a:r>
              <a:rPr lang="fr-FR" sz="1400" i="1" dirty="0">
                <a:solidFill>
                  <a:srgbClr val="313131"/>
                </a:solidFill>
              </a:rPr>
              <a:t>« Identification &amp; Authentification »</a:t>
            </a:r>
          </a:p>
        </p:txBody>
      </p:sp>
      <p:sp>
        <p:nvSpPr>
          <p:cNvPr id="28" name="Rectangle 27">
            <a:extLst>
              <a:ext uri="{FF2B5EF4-FFF2-40B4-BE49-F238E27FC236}">
                <a16:creationId xmlns:a16="http://schemas.microsoft.com/office/drawing/2014/main" id="{F7C06A4A-A131-4CC7-AA3F-F4DAA7214D0A}"/>
              </a:ext>
            </a:extLst>
          </p:cNvPr>
          <p:cNvSpPr/>
          <p:nvPr/>
        </p:nvSpPr>
        <p:spPr>
          <a:xfrm>
            <a:off x="2310065" y="1236784"/>
            <a:ext cx="9380288" cy="1138773"/>
          </a:xfrm>
          <a:prstGeom prst="rect">
            <a:avLst/>
          </a:prstGeom>
        </p:spPr>
        <p:txBody>
          <a:bodyPr wrap="square">
            <a:spAutoFit/>
          </a:bodyPr>
          <a:lstStyle/>
          <a:p>
            <a:pPr lvl="1" algn="just" defTabSz="914389">
              <a:spcBef>
                <a:spcPts val="635"/>
              </a:spcBef>
              <a:spcAft>
                <a:spcPts val="635"/>
              </a:spcAft>
              <a:defRPr/>
            </a:pPr>
            <a:r>
              <a:rPr lang="fr-FR" sz="1200" dirty="0">
                <a:effectLst/>
                <a:ea typeface="Calibri" panose="020F0502020204030204" pitchFamily="34" charset="0"/>
                <a:cs typeface="FuturaBT-Light"/>
              </a:rPr>
              <a:t>La gouvernance des Active Directory comprend deux éléments : </a:t>
            </a:r>
          </a:p>
          <a:p>
            <a:pPr marL="685800" lvl="1" indent="-228600" algn="just" defTabSz="914389">
              <a:spcBef>
                <a:spcPts val="635"/>
              </a:spcBef>
              <a:spcAft>
                <a:spcPts val="635"/>
              </a:spcAft>
              <a:buFont typeface="+mj-lt"/>
              <a:buAutoNum type="arabicPeriod"/>
              <a:defRPr/>
            </a:pPr>
            <a:r>
              <a:rPr lang="fr-FR" sz="1200" dirty="0">
                <a:effectLst/>
                <a:ea typeface="Calibri" panose="020F0502020204030204" pitchFamily="34" charset="0"/>
                <a:cs typeface="FuturaBT-Light"/>
              </a:rPr>
              <a:t>la matrice RACI qui décrit les activités clés des AD ainsi que le rôle et la responsabilité de chaque partie prenant.</a:t>
            </a:r>
          </a:p>
          <a:p>
            <a:pPr marL="685800" lvl="1" indent="-228600" algn="just" defTabSz="914389">
              <a:spcBef>
                <a:spcPts val="635"/>
              </a:spcBef>
              <a:spcAft>
                <a:spcPts val="635"/>
              </a:spcAft>
              <a:buFont typeface="+mj-lt"/>
              <a:buAutoNum type="arabicPeriod"/>
              <a:defRPr/>
            </a:pPr>
            <a:r>
              <a:rPr lang="fr-FR" sz="1200" dirty="0">
                <a:effectLst/>
                <a:ea typeface="Calibri" panose="020F0502020204030204" pitchFamily="34" charset="0"/>
                <a:cs typeface="FuturaBT-Light"/>
              </a:rPr>
              <a:t> Le second élément comprends  les instances de gouvernances qui classent les sujets et identifient les parties prenantes à inclure dans les discussions correspondantes.</a:t>
            </a:r>
            <a:endParaRPr lang="fr-FR" sz="1200" dirty="0">
              <a:effectLst/>
              <a:ea typeface="Calibri" panose="020F0502020204030204" pitchFamily="34" charset="0"/>
              <a:cs typeface="Times New Roman" panose="02020603050405020304" pitchFamily="18" charset="0"/>
            </a:endParaRPr>
          </a:p>
        </p:txBody>
      </p:sp>
      <p:grpSp>
        <p:nvGrpSpPr>
          <p:cNvPr id="29" name="Group 27">
            <a:extLst>
              <a:ext uri="{FF2B5EF4-FFF2-40B4-BE49-F238E27FC236}">
                <a16:creationId xmlns:a16="http://schemas.microsoft.com/office/drawing/2014/main" id="{D4735F94-34CA-45A0-89C3-A8FA74A8C0BF}"/>
              </a:ext>
            </a:extLst>
          </p:cNvPr>
          <p:cNvGrpSpPr/>
          <p:nvPr/>
        </p:nvGrpSpPr>
        <p:grpSpPr>
          <a:xfrm>
            <a:off x="2446156" y="1297257"/>
            <a:ext cx="349382" cy="192399"/>
            <a:chOff x="488661" y="2613666"/>
            <a:chExt cx="349382" cy="192399"/>
          </a:xfrm>
          <a:solidFill>
            <a:schemeClr val="accent1"/>
          </a:solidFill>
        </p:grpSpPr>
        <p:sp>
          <p:nvSpPr>
            <p:cNvPr id="30" name="Chevron 57">
              <a:extLst>
                <a:ext uri="{FF2B5EF4-FFF2-40B4-BE49-F238E27FC236}">
                  <a16:creationId xmlns:a16="http://schemas.microsoft.com/office/drawing/2014/main" id="{EACAED8C-C990-4589-BE96-04E776FF31C1}"/>
                </a:ext>
              </a:extLst>
            </p:cNvPr>
            <p:cNvSpPr/>
            <p:nvPr/>
          </p:nvSpPr>
          <p:spPr bwMode="gray">
            <a:xfrm>
              <a:off x="488661"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sp>
          <p:nvSpPr>
            <p:cNvPr id="31" name="Chevron 58">
              <a:extLst>
                <a:ext uri="{FF2B5EF4-FFF2-40B4-BE49-F238E27FC236}">
                  <a16:creationId xmlns:a16="http://schemas.microsoft.com/office/drawing/2014/main" id="{7B66D694-0484-49DB-825B-D5BA938165F9}"/>
                </a:ext>
              </a:extLst>
            </p:cNvPr>
            <p:cNvSpPr/>
            <p:nvPr/>
          </p:nvSpPr>
          <p:spPr bwMode="gray">
            <a:xfrm>
              <a:off x="621670"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grpSp>
      <p:pic>
        <p:nvPicPr>
          <p:cNvPr id="23" name="Picture 2" descr="Eléments graphiques | INSA Lyon">
            <a:extLst>
              <a:ext uri="{FF2B5EF4-FFF2-40B4-BE49-F238E27FC236}">
                <a16:creationId xmlns:a16="http://schemas.microsoft.com/office/drawing/2014/main" id="{24CC56B6-49F2-4AF8-9ECC-5D434F9F69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7163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A1A39-FEA5-45F0-8A95-1A2DE8823E7B}"/>
              </a:ext>
            </a:extLst>
          </p:cNvPr>
          <p:cNvSpPr>
            <a:spLocks noGrp="1"/>
          </p:cNvSpPr>
          <p:nvPr>
            <p:ph type="title"/>
          </p:nvPr>
        </p:nvSpPr>
        <p:spPr/>
        <p:txBody>
          <a:bodyPr/>
          <a:lstStyle/>
          <a:p>
            <a:endParaRPr lang="fr-FR" dirty="0"/>
          </a:p>
        </p:txBody>
      </p:sp>
      <p:sp>
        <p:nvSpPr>
          <p:cNvPr id="3" name="Content Placeholder 2">
            <a:extLst>
              <a:ext uri="{FF2B5EF4-FFF2-40B4-BE49-F238E27FC236}">
                <a16:creationId xmlns:a16="http://schemas.microsoft.com/office/drawing/2014/main" id="{C2DA7C24-C848-413B-84B3-6D78FD4BDCCF}"/>
              </a:ext>
            </a:extLst>
          </p:cNvPr>
          <p:cNvSpPr>
            <a:spLocks noGrp="1"/>
          </p:cNvSpPr>
          <p:nvPr>
            <p:ph idx="1"/>
          </p:nvPr>
        </p:nvSpPr>
        <p:spPr/>
        <p:txBody>
          <a:bodyPr/>
          <a:lstStyle/>
          <a:p>
            <a:endParaRPr lang="fr-FR" dirty="0"/>
          </a:p>
        </p:txBody>
      </p:sp>
      <p:pic>
        <p:nvPicPr>
          <p:cNvPr id="4" name="Picture 3">
            <a:extLst>
              <a:ext uri="{FF2B5EF4-FFF2-40B4-BE49-F238E27FC236}">
                <a16:creationId xmlns:a16="http://schemas.microsoft.com/office/drawing/2014/main" id="{77ECCAA7-6771-4715-89A2-2FE6DFA5ACB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Text Placeholder 6">
            <a:extLst>
              <a:ext uri="{FF2B5EF4-FFF2-40B4-BE49-F238E27FC236}">
                <a16:creationId xmlns:a16="http://schemas.microsoft.com/office/drawing/2014/main" id="{55DD3A52-1B6F-462E-A38F-38D86461F593}"/>
              </a:ext>
            </a:extLst>
          </p:cNvPr>
          <p:cNvSpPr txBox="1">
            <a:spLocks/>
          </p:cNvSpPr>
          <p:nvPr/>
        </p:nvSpPr>
        <p:spPr>
          <a:xfrm>
            <a:off x="350981" y="3344276"/>
            <a:ext cx="6135543" cy="1296317"/>
          </a:xfrm>
          <a:prstGeom prst="rect">
            <a:avLst/>
          </a:prstGeom>
        </p:spPr>
        <p:txBody>
          <a:bodyPr wrap="square">
            <a:spAutoFit/>
          </a:bodyPr>
          <a:lstStyle>
            <a:lvl1pPr marL="0" indent="0" algn="l" defTabSz="1069215" rtl="0" eaLnBrk="1" latinLnBrk="0" hangingPunct="1">
              <a:lnSpc>
                <a:spcPts val="4340"/>
              </a:lnSpc>
              <a:spcBef>
                <a:spcPts val="0"/>
              </a:spcBef>
              <a:spcAft>
                <a:spcPts val="1169"/>
              </a:spcAft>
              <a:buSzPct val="100000"/>
              <a:buFontTx/>
              <a:buNone/>
              <a:defRPr sz="3200" b="0" i="0" kern="120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1069215" rtl="0" eaLnBrk="1" latinLnBrk="0" hangingPunct="1">
              <a:spcBef>
                <a:spcPts val="0"/>
              </a:spcBef>
              <a:spcAft>
                <a:spcPts val="1169"/>
              </a:spcAft>
              <a:buClrTx/>
              <a:buSzPct val="100000"/>
              <a:buFontTx/>
              <a:buNone/>
              <a:defRPr lang="en-US" sz="1270" b="1" kern="1200">
                <a:solidFill>
                  <a:schemeClr val="tx1"/>
                </a:solidFill>
                <a:latin typeface="+mj-lt"/>
                <a:ea typeface="+mn-ea"/>
                <a:cs typeface="Calibri Light" panose="020F0302020204030204" pitchFamily="34" charset="0"/>
              </a:defRPr>
            </a:lvl2pPr>
            <a:lvl3pPr marL="914400" indent="0" algn="l" defTabSz="1069215" rtl="0" eaLnBrk="1" latinLnBrk="0" hangingPunct="1">
              <a:spcBef>
                <a:spcPts val="0"/>
              </a:spcBef>
              <a:spcAft>
                <a:spcPts val="1169"/>
              </a:spcAft>
              <a:buClrTx/>
              <a:buSzPct val="100000"/>
              <a:buFontTx/>
              <a:buNone/>
              <a:defRPr lang="en-US" sz="1270" kern="1200">
                <a:solidFill>
                  <a:schemeClr val="tx1"/>
                </a:solidFill>
                <a:latin typeface="+mn-lt"/>
                <a:ea typeface="+mn-ea"/>
                <a:cs typeface="Calibri Light" panose="020F0302020204030204" pitchFamily="34" charset="0"/>
              </a:defRPr>
            </a:lvl3pPr>
            <a:lvl4pPr marL="1371600" indent="0" algn="l" defTabSz="1069215" rtl="0" eaLnBrk="1" latinLnBrk="0" hangingPunct="1">
              <a:spcBef>
                <a:spcPts val="0"/>
              </a:spcBef>
              <a:spcAft>
                <a:spcPts val="1169"/>
              </a:spcAft>
              <a:buClrTx/>
              <a:buSzPct val="100000"/>
              <a:buFontTx/>
              <a:buNone/>
              <a:defRPr lang="en-US" sz="1270" kern="1200" baseline="0">
                <a:solidFill>
                  <a:schemeClr val="tx1"/>
                </a:solidFill>
                <a:latin typeface="+mn-lt"/>
                <a:ea typeface="+mn-ea"/>
                <a:cs typeface="Calibri Light" panose="020F0302020204030204" pitchFamily="34" charset="0"/>
              </a:defRPr>
            </a:lvl4pPr>
            <a:lvl5pPr marL="1828800" indent="0" algn="l" defTabSz="933707" rtl="0" eaLnBrk="1" latinLnBrk="0" hangingPunct="1">
              <a:spcBef>
                <a:spcPts val="0"/>
              </a:spcBef>
              <a:spcAft>
                <a:spcPts val="1169"/>
              </a:spcAft>
              <a:buClrTx/>
              <a:buSzPct val="100000"/>
              <a:buFontTx/>
              <a:buNone/>
              <a:tabLst/>
              <a:defRPr lang="en-US" sz="1270" kern="1200" baseline="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r>
              <a:rPr lang="en-US" b="1" dirty="0">
                <a:latin typeface="Verdana" panose="020B0604030504040204" pitchFamily="34" charset="0"/>
                <a:ea typeface="Verdana" panose="020B0604030504040204" pitchFamily="34" charset="0"/>
              </a:rPr>
              <a:t>03 – Mission client</a:t>
            </a:r>
          </a:p>
          <a:p>
            <a:r>
              <a:rPr lang="en-US" b="1" dirty="0">
                <a:latin typeface="Verdana" panose="020B0604030504040204" pitchFamily="34" charset="0"/>
                <a:ea typeface="Verdana" panose="020B0604030504040204" pitchFamily="34" charset="0"/>
              </a:rPr>
              <a:t>Phase 1</a:t>
            </a:r>
          </a:p>
        </p:txBody>
      </p:sp>
    </p:spTree>
    <p:extLst>
      <p:ext uri="{BB962C8B-B14F-4D97-AF65-F5344CB8AC3E}">
        <p14:creationId xmlns:p14="http://schemas.microsoft.com/office/powerpoint/2010/main" val="4028641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458BEC36-35DB-4DBD-B385-6D73E8B2E20F}"/>
              </a:ext>
            </a:extLst>
          </p:cNvPr>
          <p:cNvSpPr/>
          <p:nvPr/>
        </p:nvSpPr>
        <p:spPr bwMode="gray">
          <a:xfrm>
            <a:off x="3254349" y="1995035"/>
            <a:ext cx="7410628" cy="1803400"/>
          </a:xfrm>
          <a:prstGeom prst="rect">
            <a:avLst/>
          </a:prstGeom>
          <a:solidFill>
            <a:schemeClr val="bg1"/>
          </a:solidFill>
          <a:ln w="19050" algn="ctr">
            <a:solidFill>
              <a:schemeClr val="bg2"/>
            </a:solidFill>
            <a:prstDash val="dash"/>
            <a:miter lim="800000"/>
            <a:headEnd/>
            <a:tailEnd/>
          </a:ln>
        </p:spPr>
        <p:txBody>
          <a:bodyPr wrap="square" lIns="88900" tIns="88900" rIns="88900" bIns="88900" rtlCol="0" anchor="ctr"/>
          <a:lstStyle/>
          <a:p>
            <a:pPr lvl="1" algn="just" defTabSz="914389">
              <a:spcBef>
                <a:spcPts val="635"/>
              </a:spcBef>
              <a:spcAft>
                <a:spcPts val="635"/>
              </a:spcAft>
              <a:defRPr/>
            </a:pP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4" name="Rectangle 93">
            <a:extLst>
              <a:ext uri="{FF2B5EF4-FFF2-40B4-BE49-F238E27FC236}">
                <a16:creationId xmlns:a16="http://schemas.microsoft.com/office/drawing/2014/main" id="{384D0207-538B-4D36-85F0-E70E17A01DD8}"/>
              </a:ext>
            </a:extLst>
          </p:cNvPr>
          <p:cNvSpPr/>
          <p:nvPr/>
        </p:nvSpPr>
        <p:spPr bwMode="gray">
          <a:xfrm>
            <a:off x="3254350" y="4044949"/>
            <a:ext cx="7410628" cy="1765301"/>
          </a:xfrm>
          <a:prstGeom prst="rect">
            <a:avLst/>
          </a:prstGeom>
          <a:solidFill>
            <a:schemeClr val="bg1"/>
          </a:solidFill>
          <a:ln w="19050" algn="ctr">
            <a:solidFill>
              <a:srgbClr val="C00000"/>
            </a:solidFill>
            <a:prstDash val="dash"/>
            <a:miter lim="800000"/>
            <a:headEnd/>
            <a:tailEnd/>
          </a:ln>
        </p:spPr>
        <p:txBody>
          <a:bodyPr wrap="square" lIns="88900" tIns="88900" rIns="88900" bIns="88900" rtlCol="0" anchor="ctr"/>
          <a:lstStyle/>
          <a:p>
            <a:pPr lvl="1" algn="just" defTabSz="914389">
              <a:spcBef>
                <a:spcPts val="635"/>
              </a:spcBef>
              <a:spcAft>
                <a:spcPts val="635"/>
              </a:spcAft>
              <a:defRPr/>
            </a:pP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itle 1">
            <a:extLst>
              <a:ext uri="{FF2B5EF4-FFF2-40B4-BE49-F238E27FC236}">
                <a16:creationId xmlns:a16="http://schemas.microsoft.com/office/drawing/2014/main" id="{CB5A1A39-FEA5-45F0-8A95-1A2DE8823E7B}"/>
              </a:ext>
            </a:extLst>
          </p:cNvPr>
          <p:cNvSpPr>
            <a:spLocks noGrp="1"/>
          </p:cNvSpPr>
          <p:nvPr>
            <p:ph type="title"/>
          </p:nvPr>
        </p:nvSpPr>
        <p:spPr>
          <a:xfrm>
            <a:off x="2381250" y="343190"/>
            <a:ext cx="6743700" cy="309820"/>
          </a:xfrm>
        </p:spPr>
        <p:txBody>
          <a:bodyPr/>
          <a:lstStyle/>
          <a:p>
            <a:r>
              <a:rPr lang="fr-FR" sz="2800" b="1" dirty="0">
                <a:solidFill>
                  <a:schemeClr val="accent1"/>
                </a:solidFill>
              </a:rPr>
              <a:t>IAM et Active Directory</a:t>
            </a:r>
          </a:p>
        </p:txBody>
      </p:sp>
      <p:sp>
        <p:nvSpPr>
          <p:cNvPr id="5" name="Rectangle 4">
            <a:extLst>
              <a:ext uri="{FF2B5EF4-FFF2-40B4-BE49-F238E27FC236}">
                <a16:creationId xmlns:a16="http://schemas.microsoft.com/office/drawing/2014/main" id="{81E10ACE-8204-433C-A47C-CE8C4C39D474}"/>
              </a:ext>
            </a:extLst>
          </p:cNvPr>
          <p:cNvSpPr/>
          <p:nvPr/>
        </p:nvSpPr>
        <p:spPr bwMode="gray">
          <a:xfrm>
            <a:off x="0" y="0"/>
            <a:ext cx="1976582" cy="6858000"/>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7" name="Picture 4" descr="Deloitte Consulting LLP - Partner - Boomi">
            <a:extLst>
              <a:ext uri="{FF2B5EF4-FFF2-40B4-BE49-F238E27FC236}">
                <a16:creationId xmlns:a16="http://schemas.microsoft.com/office/drawing/2014/main" id="{981A2C2E-67FB-4095-850E-3C58285190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05" y="991180"/>
            <a:ext cx="1629751" cy="635605"/>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a:extLst>
              <a:ext uri="{FF2B5EF4-FFF2-40B4-BE49-F238E27FC236}">
                <a16:creationId xmlns:a16="http://schemas.microsoft.com/office/drawing/2014/main" id="{FB383B82-9C04-4E6C-9E6A-638CBAD1B5AA}"/>
              </a:ext>
            </a:extLst>
          </p:cNvPr>
          <p:cNvSpPr/>
          <p:nvPr/>
        </p:nvSpPr>
        <p:spPr>
          <a:xfrm>
            <a:off x="2291015" y="960559"/>
            <a:ext cx="9380288" cy="523220"/>
          </a:xfrm>
          <a:prstGeom prst="rect">
            <a:avLst/>
          </a:prstGeom>
        </p:spPr>
        <p:txBody>
          <a:bodyPr wrap="square">
            <a:spAutoFit/>
          </a:bodyPr>
          <a:lstStyle/>
          <a:p>
            <a:pPr lvl="1" algn="just" defTabSz="914389">
              <a:spcBef>
                <a:spcPts val="635"/>
              </a:spcBef>
              <a:spcAft>
                <a:spcPts val="635"/>
              </a:spcAft>
              <a:defRPr/>
            </a:pPr>
            <a:r>
              <a:rPr lang="fr-FR" sz="1400" dirty="0">
                <a:effectLst/>
                <a:latin typeface="Calibri" panose="020F0502020204030204" pitchFamily="34" charset="0"/>
                <a:ea typeface="Calibri" panose="020F0502020204030204" pitchFamily="34" charset="0"/>
                <a:cs typeface="Times New Roman" panose="02020603050405020304" pitchFamily="18" charset="0"/>
              </a:rPr>
              <a:t>IAM signifie </a:t>
            </a:r>
            <a:r>
              <a:rPr lang="fr-FR" sz="1400" b="1" dirty="0">
                <a:effectLst/>
                <a:latin typeface="Calibri" panose="020F0502020204030204" pitchFamily="34" charset="0"/>
                <a:ea typeface="Calibri" panose="020F0502020204030204" pitchFamily="34" charset="0"/>
                <a:cs typeface="Times New Roman" panose="02020603050405020304" pitchFamily="18" charset="0"/>
              </a:rPr>
              <a:t>Identity Access Management</a:t>
            </a:r>
            <a:r>
              <a:rPr lang="fr-FR" sz="1400" dirty="0">
                <a:effectLst/>
                <a:latin typeface="Calibri" panose="020F0502020204030204" pitchFamily="34" charset="0"/>
                <a:ea typeface="Calibri" panose="020F0502020204030204" pitchFamily="34" charset="0"/>
                <a:cs typeface="Times New Roman" panose="02020603050405020304" pitchFamily="18" charset="0"/>
              </a:rPr>
              <a:t> et c’est un moyen de </a:t>
            </a:r>
            <a:r>
              <a:rPr lang="fr-FR" sz="1400" b="1" dirty="0">
                <a:effectLst/>
                <a:latin typeface="Calibri" panose="020F0502020204030204" pitchFamily="34" charset="0"/>
                <a:ea typeface="Calibri" panose="020F0502020204030204" pitchFamily="34" charset="0"/>
                <a:cs typeface="Times New Roman" panose="02020603050405020304" pitchFamily="18" charset="0"/>
              </a:rPr>
              <a:t>gérer un ensemble d’identités numériques </a:t>
            </a:r>
            <a:r>
              <a:rPr lang="fr-FR" sz="1400" dirty="0">
                <a:effectLst/>
                <a:latin typeface="Calibri" panose="020F0502020204030204" pitchFamily="34" charset="0"/>
                <a:ea typeface="Calibri" panose="020F0502020204030204" pitchFamily="34" charset="0"/>
                <a:cs typeface="Times New Roman" panose="02020603050405020304" pitchFamily="18" charset="0"/>
              </a:rPr>
              <a:t>et leurs </a:t>
            </a:r>
            <a:r>
              <a:rPr lang="fr-FR" sz="1400" b="1" dirty="0">
                <a:effectLst/>
                <a:latin typeface="Calibri" panose="020F0502020204030204" pitchFamily="34" charset="0"/>
                <a:ea typeface="Calibri" panose="020F0502020204030204" pitchFamily="34" charset="0"/>
                <a:cs typeface="Times New Roman" panose="02020603050405020304" pitchFamily="18" charset="0"/>
              </a:rPr>
              <a:t>privilèges associés. </a:t>
            </a:r>
          </a:p>
        </p:txBody>
      </p:sp>
      <p:grpSp>
        <p:nvGrpSpPr>
          <p:cNvPr id="66" name="Group 27">
            <a:extLst>
              <a:ext uri="{FF2B5EF4-FFF2-40B4-BE49-F238E27FC236}">
                <a16:creationId xmlns:a16="http://schemas.microsoft.com/office/drawing/2014/main" id="{C230EDBF-5666-45DA-8C8A-BBFF52AAFFEE}"/>
              </a:ext>
            </a:extLst>
          </p:cNvPr>
          <p:cNvGrpSpPr/>
          <p:nvPr/>
        </p:nvGrpSpPr>
        <p:grpSpPr>
          <a:xfrm>
            <a:off x="2427106" y="1021032"/>
            <a:ext cx="349382" cy="192399"/>
            <a:chOff x="488661" y="2613666"/>
            <a:chExt cx="349382" cy="192399"/>
          </a:xfrm>
          <a:solidFill>
            <a:schemeClr val="accent1"/>
          </a:solidFill>
        </p:grpSpPr>
        <p:sp>
          <p:nvSpPr>
            <p:cNvPr id="67" name="Chevron 57">
              <a:extLst>
                <a:ext uri="{FF2B5EF4-FFF2-40B4-BE49-F238E27FC236}">
                  <a16:creationId xmlns:a16="http://schemas.microsoft.com/office/drawing/2014/main" id="{B7172940-1407-4762-9759-8F63E127970E}"/>
                </a:ext>
              </a:extLst>
            </p:cNvPr>
            <p:cNvSpPr/>
            <p:nvPr/>
          </p:nvSpPr>
          <p:spPr bwMode="gray">
            <a:xfrm>
              <a:off x="488661"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sp>
          <p:nvSpPr>
            <p:cNvPr id="68" name="Chevron 58">
              <a:extLst>
                <a:ext uri="{FF2B5EF4-FFF2-40B4-BE49-F238E27FC236}">
                  <a16:creationId xmlns:a16="http://schemas.microsoft.com/office/drawing/2014/main" id="{C2630A3B-0F59-4F7E-9EC7-CA3B42909C63}"/>
                </a:ext>
              </a:extLst>
            </p:cNvPr>
            <p:cNvSpPr/>
            <p:nvPr/>
          </p:nvSpPr>
          <p:spPr bwMode="gray">
            <a:xfrm>
              <a:off x="621670" y="2613666"/>
              <a:ext cx="216373" cy="192399"/>
            </a:xfrm>
            <a:prstGeom prst="chevron">
              <a:avLst>
                <a:gd name="adj" fmla="val 58462"/>
              </a:avLst>
            </a:prstGeom>
            <a:grp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fr-FR" sz="16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endParaRPr>
            </a:p>
          </p:txBody>
        </p:sp>
      </p:grpSp>
      <p:sp>
        <p:nvSpPr>
          <p:cNvPr id="69" name="ZoneTexte 128">
            <a:extLst>
              <a:ext uri="{FF2B5EF4-FFF2-40B4-BE49-F238E27FC236}">
                <a16:creationId xmlns:a16="http://schemas.microsoft.com/office/drawing/2014/main" id="{7D878AFE-EC79-40DB-A93E-7FFD0760E57A}"/>
              </a:ext>
            </a:extLst>
          </p:cNvPr>
          <p:cNvSpPr txBox="1"/>
          <p:nvPr/>
        </p:nvSpPr>
        <p:spPr>
          <a:xfrm>
            <a:off x="504184" y="2001334"/>
            <a:ext cx="968214" cy="2855333"/>
          </a:xfrm>
          <a:prstGeom prst="rect">
            <a:avLst/>
          </a:prstGeom>
          <a:noFill/>
        </p:spPr>
        <p:txBody>
          <a:bodyPr wrap="none" lIns="0" tIns="0" rIns="0" bIns="0" rtlCol="0">
            <a:spAutoFit/>
          </a:bodyPr>
          <a:lstStyle/>
          <a:p>
            <a:pPr marL="342900" indent="-342900">
              <a:lnSpc>
                <a:spcPct val="250000"/>
              </a:lnSpc>
              <a:spcBef>
                <a:spcPts val="600"/>
              </a:spcBef>
              <a:buSzPct val="100000"/>
              <a:buFont typeface="+mj-lt"/>
              <a:buAutoNum type="arabicPeriod"/>
            </a:pPr>
            <a:r>
              <a:rPr lang="fr-FR" sz="1100" dirty="0">
                <a:solidFill>
                  <a:srgbClr val="313131"/>
                </a:solidFill>
              </a:rPr>
              <a:t>Entreprise</a:t>
            </a:r>
          </a:p>
          <a:p>
            <a:pPr marL="342900" indent="-342900">
              <a:lnSpc>
                <a:spcPct val="250000"/>
              </a:lnSpc>
              <a:spcBef>
                <a:spcPts val="600"/>
              </a:spcBef>
              <a:buSzPct val="100000"/>
              <a:buFont typeface="+mj-lt"/>
              <a:buAutoNum type="arabicPeriod"/>
            </a:pPr>
            <a:r>
              <a:rPr lang="fr-FR" sz="1100" dirty="0">
                <a:solidFill>
                  <a:srgbClr val="313131"/>
                </a:solidFill>
              </a:rPr>
              <a:t>Contexte</a:t>
            </a:r>
          </a:p>
          <a:p>
            <a:pPr marL="342900" indent="-342900">
              <a:lnSpc>
                <a:spcPct val="250000"/>
              </a:lnSpc>
              <a:spcBef>
                <a:spcPts val="600"/>
              </a:spcBef>
              <a:buSzPct val="100000"/>
              <a:buFont typeface="+mj-lt"/>
              <a:buAutoNum type="arabicPeriod"/>
            </a:pPr>
            <a:r>
              <a:rPr lang="fr-FR" sz="1100" b="1" dirty="0">
                <a:solidFill>
                  <a:schemeClr val="accent1">
                    <a:lumMod val="50000"/>
                  </a:schemeClr>
                </a:solidFill>
              </a:rPr>
              <a:t>Phase 1</a:t>
            </a:r>
          </a:p>
          <a:p>
            <a:pPr marL="342900" indent="-342900">
              <a:lnSpc>
                <a:spcPct val="250000"/>
              </a:lnSpc>
              <a:spcBef>
                <a:spcPts val="600"/>
              </a:spcBef>
              <a:buSzPct val="100000"/>
              <a:buFont typeface="+mj-lt"/>
              <a:buAutoNum type="arabicPeriod"/>
            </a:pPr>
            <a:r>
              <a:rPr lang="fr-FR" sz="1100" dirty="0">
                <a:solidFill>
                  <a:srgbClr val="313131"/>
                </a:solidFill>
              </a:rPr>
              <a:t>Phase 2</a:t>
            </a:r>
          </a:p>
          <a:p>
            <a:pPr marL="342900" indent="-342900">
              <a:lnSpc>
                <a:spcPct val="250000"/>
              </a:lnSpc>
              <a:spcBef>
                <a:spcPts val="600"/>
              </a:spcBef>
              <a:buSzPct val="100000"/>
              <a:buFont typeface="+mj-lt"/>
              <a:buAutoNum type="arabicPeriod"/>
            </a:pPr>
            <a:r>
              <a:rPr lang="fr-FR" sz="1100" dirty="0">
                <a:solidFill>
                  <a:srgbClr val="313131"/>
                </a:solidFill>
              </a:rPr>
              <a:t>SHS</a:t>
            </a:r>
          </a:p>
          <a:p>
            <a:pPr marL="342900" indent="-342900">
              <a:lnSpc>
                <a:spcPct val="250000"/>
              </a:lnSpc>
              <a:spcBef>
                <a:spcPts val="600"/>
              </a:spcBef>
              <a:buSzPct val="100000"/>
              <a:buFont typeface="+mj-lt"/>
              <a:buAutoNum type="arabicPeriod"/>
            </a:pPr>
            <a:r>
              <a:rPr lang="fr-FR" sz="1100" dirty="0">
                <a:solidFill>
                  <a:srgbClr val="313131"/>
                </a:solidFill>
              </a:rPr>
              <a:t>Conclusion</a:t>
            </a:r>
          </a:p>
        </p:txBody>
      </p:sp>
      <p:sp>
        <p:nvSpPr>
          <p:cNvPr id="78" name="Rectangle 77">
            <a:extLst>
              <a:ext uri="{FF2B5EF4-FFF2-40B4-BE49-F238E27FC236}">
                <a16:creationId xmlns:a16="http://schemas.microsoft.com/office/drawing/2014/main" id="{B5D1F6FB-98A2-4B9E-852B-0AA7D6550280}"/>
              </a:ext>
            </a:extLst>
          </p:cNvPr>
          <p:cNvSpPr/>
          <p:nvPr/>
        </p:nvSpPr>
        <p:spPr bwMode="gray">
          <a:xfrm>
            <a:off x="3275845" y="2025651"/>
            <a:ext cx="7367637" cy="1755834"/>
          </a:xfrm>
          <a:prstGeom prst="rect">
            <a:avLst/>
          </a:prstGeom>
          <a:solidFill>
            <a:schemeClr val="bg1">
              <a:lumMod val="95000"/>
            </a:schemeClr>
          </a:solidFill>
          <a:ln w="19050" algn="ctr">
            <a:solidFill>
              <a:schemeClr val="bg1"/>
            </a:solidFill>
            <a:miter lim="800000"/>
            <a:headEnd/>
            <a:tailEnd/>
          </a:ln>
        </p:spPr>
        <p:txBody>
          <a:bodyPr wrap="square" lIns="88900" tIns="88900" rIns="88900" bIns="88900" rtlCol="0" anchor="ctr"/>
          <a:lstStyle/>
          <a:p>
            <a:pPr lvl="1" algn="just" defTabSz="914389">
              <a:spcBef>
                <a:spcPts val="635"/>
              </a:spcBef>
              <a:spcAft>
                <a:spcPts val="635"/>
              </a:spcAft>
              <a:defRPr/>
            </a:pP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4" name="TextBox 83">
            <a:extLst>
              <a:ext uri="{FF2B5EF4-FFF2-40B4-BE49-F238E27FC236}">
                <a16:creationId xmlns:a16="http://schemas.microsoft.com/office/drawing/2014/main" id="{4B88A5F4-8E83-4BA8-BCD8-56B9F8E84D00}"/>
              </a:ext>
            </a:extLst>
          </p:cNvPr>
          <p:cNvSpPr txBox="1"/>
          <p:nvPr/>
        </p:nvSpPr>
        <p:spPr>
          <a:xfrm>
            <a:off x="3478276" y="2486907"/>
            <a:ext cx="6962775" cy="833322"/>
          </a:xfrm>
          <a:prstGeom prst="rect">
            <a:avLst/>
          </a:prstGeom>
          <a:noFill/>
        </p:spPr>
        <p:txBody>
          <a:bodyPr wrap="square" lIns="0" tIns="0" rIns="0" bIns="0" rtlCol="0">
            <a:spAutoFit/>
          </a:bodyPr>
          <a:lstStyle/>
          <a:p>
            <a:pPr>
              <a:spcBef>
                <a:spcPts val="600"/>
              </a:spcBef>
              <a:buSzPct val="100000"/>
            </a:pPr>
            <a:r>
              <a:rPr lang="fr-FR" sz="1400" dirty="0">
                <a:effectLst/>
                <a:latin typeface="Calibri" panose="020F0502020204030204" pitchFamily="34" charset="0"/>
                <a:ea typeface="Calibri" panose="020F0502020204030204" pitchFamily="34" charset="0"/>
                <a:cs typeface="Times New Roman" panose="02020603050405020304" pitchFamily="18" charset="0"/>
              </a:rPr>
              <a:t>Active Directory est </a:t>
            </a:r>
            <a:r>
              <a:rPr lang="fr-FR" sz="1400" b="1" dirty="0">
                <a:effectLst/>
                <a:latin typeface="Calibri" panose="020F0502020204030204" pitchFamily="34" charset="0"/>
                <a:ea typeface="Calibri" panose="020F0502020204030204" pitchFamily="34" charset="0"/>
                <a:cs typeface="Times New Roman" panose="02020603050405020304" pitchFamily="18" charset="0"/>
              </a:rPr>
              <a:t>l’annuaire où l’</a:t>
            </a:r>
            <a:r>
              <a:rPr lang="fr-FR" sz="1400" b="1" dirty="0">
                <a:latin typeface="Calibri" panose="020F0502020204030204" pitchFamily="34" charset="0"/>
                <a:ea typeface="Calibri" panose="020F0502020204030204" pitchFamily="34" charset="0"/>
                <a:cs typeface="Times New Roman" panose="02020603050405020304" pitchFamily="18" charset="0"/>
              </a:rPr>
              <a:t>on stocke les données </a:t>
            </a:r>
            <a:r>
              <a:rPr lang="fr-FR" sz="1400" dirty="0">
                <a:latin typeface="Calibri" panose="020F0502020204030204" pitchFamily="34" charset="0"/>
                <a:ea typeface="Calibri" panose="020F0502020204030204" pitchFamily="34" charset="0"/>
                <a:cs typeface="Times New Roman" panose="02020603050405020304" pitchFamily="18" charset="0"/>
              </a:rPr>
              <a:t>relatives aux personnes et aux objets, tandis que les systèmes IAM permettent </a:t>
            </a:r>
            <a:r>
              <a:rPr lang="fr-FR" sz="1400" b="1" dirty="0">
                <a:latin typeface="Calibri" panose="020F0502020204030204" pitchFamily="34" charset="0"/>
                <a:ea typeface="Calibri" panose="020F0502020204030204" pitchFamily="34" charset="0"/>
                <a:cs typeface="Times New Roman" panose="02020603050405020304" pitchFamily="18" charset="0"/>
              </a:rPr>
              <a:t>de gérer ces données à grande échelle </a:t>
            </a:r>
            <a:r>
              <a:rPr lang="fr-FR" sz="1400" dirty="0">
                <a:latin typeface="Calibri" panose="020F0502020204030204" pitchFamily="34" charset="0"/>
                <a:ea typeface="Calibri" panose="020F0502020204030204" pitchFamily="34" charset="0"/>
                <a:cs typeface="Times New Roman" panose="02020603050405020304" pitchFamily="18" charset="0"/>
              </a:rPr>
              <a:t>avec une bonne efficacité et des contrôles.</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122" name="Picture 2">
            <a:extLst>
              <a:ext uri="{FF2B5EF4-FFF2-40B4-BE49-F238E27FC236}">
                <a16:creationId xmlns:a16="http://schemas.microsoft.com/office/drawing/2014/main" id="{0DBDCA5F-E7A9-4052-B889-4C40F7B223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10363" y="1577071"/>
            <a:ext cx="342900" cy="342900"/>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7242F18A-AC26-400C-BE2B-A0B19DA92720}"/>
              </a:ext>
            </a:extLst>
          </p:cNvPr>
          <p:cNvSpPr/>
          <p:nvPr/>
        </p:nvSpPr>
        <p:spPr bwMode="gray">
          <a:xfrm>
            <a:off x="3275845" y="4091472"/>
            <a:ext cx="7367637" cy="1690431"/>
          </a:xfrm>
          <a:prstGeom prst="rect">
            <a:avLst/>
          </a:prstGeom>
          <a:solidFill>
            <a:srgbClr val="FFE5ED"/>
          </a:solidFill>
          <a:ln w="19050" algn="ctr">
            <a:solidFill>
              <a:schemeClr val="bg1"/>
            </a:solidFill>
            <a:miter lim="800000"/>
            <a:headEnd/>
            <a:tailEnd/>
          </a:ln>
        </p:spPr>
        <p:txBody>
          <a:bodyPr wrap="square" lIns="88900" tIns="88900" rIns="88900" bIns="88900" rtlCol="0" anchor="ctr"/>
          <a:lstStyle/>
          <a:p>
            <a:pPr lvl="1" algn="just" defTabSz="914389">
              <a:spcBef>
                <a:spcPts val="635"/>
              </a:spcBef>
              <a:spcAft>
                <a:spcPts val="635"/>
              </a:spcAft>
              <a:defRPr/>
            </a:pP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124" name="Picture 4">
            <a:extLst>
              <a:ext uri="{FF2B5EF4-FFF2-40B4-BE49-F238E27FC236}">
                <a16:creationId xmlns:a16="http://schemas.microsoft.com/office/drawing/2014/main" id="{0CFFA81C-3A8D-49E3-AC72-2BFB0D68C0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62500" y="4280158"/>
            <a:ext cx="895350" cy="895350"/>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a:extLst>
              <a:ext uri="{FF2B5EF4-FFF2-40B4-BE49-F238E27FC236}">
                <a16:creationId xmlns:a16="http://schemas.microsoft.com/office/drawing/2014/main" id="{ADE0431E-5F5C-43FD-B611-94A4F733DDB5}"/>
              </a:ext>
            </a:extLst>
          </p:cNvPr>
          <p:cNvSpPr txBox="1"/>
          <p:nvPr/>
        </p:nvSpPr>
        <p:spPr>
          <a:xfrm>
            <a:off x="4369569" y="5256679"/>
            <a:ext cx="1681212" cy="215444"/>
          </a:xfrm>
          <a:prstGeom prst="rect">
            <a:avLst/>
          </a:prstGeom>
          <a:noFill/>
        </p:spPr>
        <p:txBody>
          <a:bodyPr wrap="square" lIns="0" tIns="0" rIns="0" bIns="0" rtlCol="0">
            <a:spAutoFit/>
          </a:bodyPr>
          <a:lstStyle/>
          <a:p>
            <a:pPr>
              <a:spcBef>
                <a:spcPts val="600"/>
              </a:spcBef>
              <a:buSzPct val="100000"/>
            </a:pPr>
            <a:r>
              <a:rPr lang="fr-FR" sz="1400" dirty="0">
                <a:solidFill>
                  <a:srgbClr val="313131"/>
                </a:solidFill>
              </a:rPr>
              <a:t>Architecture complexe</a:t>
            </a:r>
          </a:p>
        </p:txBody>
      </p:sp>
      <p:pic>
        <p:nvPicPr>
          <p:cNvPr id="5126" name="Picture 6">
            <a:extLst>
              <a:ext uri="{FF2B5EF4-FFF2-40B4-BE49-F238E27FC236}">
                <a16:creationId xmlns:a16="http://schemas.microsoft.com/office/drawing/2014/main" id="{6D0E2372-E8FB-49A5-B7AB-97F5502242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04584" y="4280157"/>
            <a:ext cx="895351" cy="895351"/>
          </a:xfrm>
          <a:prstGeom prst="rect">
            <a:avLst/>
          </a:prstGeom>
          <a:noFill/>
          <a:extLst>
            <a:ext uri="{909E8E84-426E-40DD-AFC4-6F175D3DCCD1}">
              <a14:hiddenFill xmlns:a14="http://schemas.microsoft.com/office/drawing/2010/main">
                <a:solidFill>
                  <a:srgbClr val="FFFFFF"/>
                </a:solidFill>
              </a14:hiddenFill>
            </a:ext>
          </a:extLst>
        </p:spPr>
      </p:pic>
      <p:sp>
        <p:nvSpPr>
          <p:cNvPr id="93" name="TextBox 92">
            <a:extLst>
              <a:ext uri="{FF2B5EF4-FFF2-40B4-BE49-F238E27FC236}">
                <a16:creationId xmlns:a16="http://schemas.microsoft.com/office/drawing/2014/main" id="{DA072F35-3740-44E8-B17A-024AECB4C3E1}"/>
              </a:ext>
            </a:extLst>
          </p:cNvPr>
          <p:cNvSpPr txBox="1"/>
          <p:nvPr/>
        </p:nvSpPr>
        <p:spPr>
          <a:xfrm>
            <a:off x="7979544" y="5256471"/>
            <a:ext cx="1345431" cy="215444"/>
          </a:xfrm>
          <a:prstGeom prst="rect">
            <a:avLst/>
          </a:prstGeom>
          <a:noFill/>
        </p:spPr>
        <p:txBody>
          <a:bodyPr wrap="square" lIns="0" tIns="0" rIns="0" bIns="0" rtlCol="0">
            <a:spAutoFit/>
          </a:bodyPr>
          <a:lstStyle/>
          <a:p>
            <a:pPr>
              <a:spcBef>
                <a:spcPts val="600"/>
              </a:spcBef>
              <a:buSzPct val="100000"/>
            </a:pPr>
            <a:r>
              <a:rPr lang="fr-FR" sz="1400" dirty="0">
                <a:solidFill>
                  <a:srgbClr val="313131"/>
                </a:solidFill>
              </a:rPr>
              <a:t>Prise de décisions</a:t>
            </a:r>
          </a:p>
        </p:txBody>
      </p:sp>
      <p:pic>
        <p:nvPicPr>
          <p:cNvPr id="5128" name="Picture 8">
            <a:extLst>
              <a:ext uri="{FF2B5EF4-FFF2-40B4-BE49-F238E27FC236}">
                <a16:creationId xmlns:a16="http://schemas.microsoft.com/office/drawing/2014/main" id="{BE9C2BAF-AAA1-4EEC-AB1B-185714F73C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10363" y="3920022"/>
            <a:ext cx="342900" cy="3429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Eléments graphiques | INSA Lyon">
            <a:extLst>
              <a:ext uri="{FF2B5EF4-FFF2-40B4-BE49-F238E27FC236}">
                <a16:creationId xmlns:a16="http://schemas.microsoft.com/office/drawing/2014/main" id="{8A662360-ADF7-4C3C-8F56-4DB809C095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0604" y="423872"/>
            <a:ext cx="1629751" cy="3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311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8PWaHltS069C_vkV9V6.g"/>
</p:tagLst>
</file>

<file path=ppt/theme/theme1.xml><?xml version="1.0" encoding="utf-8"?>
<a:theme xmlns:a="http://schemas.openxmlformats.org/drawingml/2006/main" name="Theme Deloitte 2022">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 Deloitte 2022" id="{B079A984-6027-487F-9E6E-F86BCCA0521A}" vid="{0D9EC970-8E8F-4C53-AA86-AB95822BE6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C525FBF4B4334C87E58B7824AEEEA2" ma:contentTypeVersion="6" ma:contentTypeDescription="Create a new document." ma:contentTypeScope="" ma:versionID="eeb7759094a15ea5c7a890b72a800c86">
  <xsd:schema xmlns:xsd="http://www.w3.org/2001/XMLSchema" xmlns:xs="http://www.w3.org/2001/XMLSchema" xmlns:p="http://schemas.microsoft.com/office/2006/metadata/properties" xmlns:ns2="ce27b472-26c0-4ca1-8662-17aa19c63f43" xmlns:ns3="602039f5-a355-4cf8-9124-73d4518b206a" targetNamespace="http://schemas.microsoft.com/office/2006/metadata/properties" ma:root="true" ma:fieldsID="7d63b5ad0fb856578d700a5c41ad5a16" ns2:_="" ns3:_="">
    <xsd:import namespace="ce27b472-26c0-4ca1-8662-17aa19c63f43"/>
    <xsd:import namespace="602039f5-a355-4cf8-9124-73d4518b206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27b472-26c0-4ca1-8662-17aa19c63f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02039f5-a355-4cf8-9124-73d4518b206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18A4680-D134-4D72-B0C6-3215A95603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27b472-26c0-4ca1-8662-17aa19c63f43"/>
    <ds:schemaRef ds:uri="602039f5-a355-4cf8-9124-73d4518b206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2273887-E324-416E-AB86-4B28B2E84F6D}">
  <ds:schemaRefs>
    <ds:schemaRef ds:uri="http://schemas.microsoft.com/sharepoint/v3/contenttype/forms"/>
  </ds:schemaRefs>
</ds:datastoreItem>
</file>

<file path=customXml/itemProps3.xml><?xml version="1.0" encoding="utf-8"?>
<ds:datastoreItem xmlns:ds="http://schemas.openxmlformats.org/officeDocument/2006/customXml" ds:itemID="{10EC24CC-0750-480E-B12F-68A060B4D0F2}">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efault Theme</Template>
  <TotalTime>17218</TotalTime>
  <Words>1294</Words>
  <Application>Microsoft Macintosh PowerPoint</Application>
  <PresentationFormat>Grand écran</PresentationFormat>
  <Paragraphs>270</Paragraphs>
  <Slides>24</Slides>
  <Notes>4</Notes>
  <HiddenSlides>2</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4</vt:i4>
      </vt:variant>
    </vt:vector>
  </HeadingPairs>
  <TitlesOfParts>
    <vt:vector size="33" baseType="lpstr">
      <vt:lpstr>Arial</vt:lpstr>
      <vt:lpstr>Calibri</vt:lpstr>
      <vt:lpstr>Segoe UI Symbol</vt:lpstr>
      <vt:lpstr>Tahoma</vt:lpstr>
      <vt:lpstr>Verdana</vt:lpstr>
      <vt:lpstr>Wingdings</vt:lpstr>
      <vt:lpstr>Wingdings 2</vt:lpstr>
      <vt:lpstr>Theme Deloitte 2022</vt:lpstr>
      <vt:lpstr>think-cell Slide</vt:lpstr>
      <vt:lpstr>Présentation PowerPoint</vt:lpstr>
      <vt:lpstr>Agenda</vt:lpstr>
      <vt:lpstr>Présentation PowerPoint</vt:lpstr>
      <vt:lpstr>Deloitte France</vt:lpstr>
      <vt:lpstr>Présentation PowerPoint</vt:lpstr>
      <vt:lpstr>Contexte de la mission</vt:lpstr>
      <vt:lpstr>Définitions </vt:lpstr>
      <vt:lpstr>Présentation PowerPoint</vt:lpstr>
      <vt:lpstr>IAM et Active Directory</vt:lpstr>
      <vt:lpstr>Méthodologie</vt:lpstr>
      <vt:lpstr>Analyse de la gouvernance IAM</vt:lpstr>
      <vt:lpstr>Livrables de la Gouvernance AD</vt:lpstr>
      <vt:lpstr>Livrables </vt:lpstr>
      <vt:lpstr>Méthodologie</vt:lpstr>
      <vt:lpstr>KPIs &amp; Reporting</vt:lpstr>
      <vt:lpstr>Gestion de projet</vt:lpstr>
      <vt:lpstr>Présentation PowerPoint</vt:lpstr>
      <vt:lpstr>SHS</vt:lpstr>
      <vt:lpstr>Présentation PowerPoint</vt:lpstr>
      <vt:lpstr>Bilan du stage</vt:lpstr>
      <vt:lpstr>Présentation PowerPoint</vt:lpstr>
      <vt:lpstr>Présentation PowerPoint</vt:lpstr>
      <vt:lpstr>Exemple de projet au sein du questionnaire</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ussel, Gaetan</dc:creator>
  <cp:lastModifiedBy>Gabriel Fournier</cp:lastModifiedBy>
  <cp:revision>2</cp:revision>
  <dcterms:created xsi:type="dcterms:W3CDTF">2022-06-22T14:18:41Z</dcterms:created>
  <dcterms:modified xsi:type="dcterms:W3CDTF">2022-09-05T19:1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6-22T14:18:4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c6df2f1-be37-4483-b9fc-f78bf10426f3</vt:lpwstr>
  </property>
  <property fmtid="{D5CDD505-2E9C-101B-9397-08002B2CF9AE}" pid="8" name="MSIP_Label_ea60d57e-af5b-4752-ac57-3e4f28ca11dc_ContentBits">
    <vt:lpwstr>0</vt:lpwstr>
  </property>
  <property fmtid="{D5CDD505-2E9C-101B-9397-08002B2CF9AE}" pid="9" name="ContentTypeId">
    <vt:lpwstr>0x01010087C525FBF4B4334C87E58B7824AEEEA2</vt:lpwstr>
  </property>
</Properties>
</file>